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1.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6.xml" ContentType="application/vnd.openxmlformats-officedocument.them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0.xml" ContentType="application/vnd.openxmlformats-officedocument.presentationml.tags+xml"/>
  <Override PartName="/ppt/tags/tag278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82.xml" ContentType="application/vnd.openxmlformats-officedocument.presentationml.tags+xml"/>
  <Override PartName="/ppt/notesSlides/notesSlide3.xml" ContentType="application/vnd.openxmlformats-officedocument.presentationml.notesSlide+xml"/>
  <Override PartName="/ppt/tags/tag2783.xml" ContentType="application/vnd.openxmlformats-officedocument.presentationml.tags+xml"/>
  <Override PartName="/ppt/notesSlides/notesSlide4.xml" ContentType="application/vnd.openxmlformats-officedocument.presentationml.notesSlide+xml"/>
  <Override PartName="/ppt/tags/tag278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785.xml" ContentType="application/vnd.openxmlformats-officedocument.presentationml.tags+xml"/>
  <Override PartName="/ppt/notesSlides/notesSlide9.xml" ContentType="application/vnd.openxmlformats-officedocument.presentationml.notesSlide+xml"/>
  <Override PartName="/ppt/tags/tag2786.xml" ContentType="application/vnd.openxmlformats-officedocument.presentationml.tags+xml"/>
  <Override PartName="/ppt/notesSlides/notesSlide10.xml" ContentType="application/vnd.openxmlformats-officedocument.presentationml.notesSlide+xml"/>
  <Override PartName="/ppt/tags/tag2787.xml" ContentType="application/vnd.openxmlformats-officedocument.presentationml.tags+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88.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89.xml" ContentType="application/vnd.openxmlformats-officedocument.presentationml.tags+xml"/>
  <Override PartName="/ppt/notesSlides/notesSlide13.xml" ContentType="application/vnd.openxmlformats-officedocument.presentationml.notesSlide+xml"/>
  <Override PartName="/ppt/tags/tag2790.xml" ContentType="application/vnd.openxmlformats-officedocument.presentationml.tags+xml"/>
  <Override PartName="/ppt/notesSlides/notesSlide14.xml" ContentType="application/vnd.openxmlformats-officedocument.presentationml.notesSlide+xml"/>
  <Override PartName="/ppt/tags/tag2791.xml" ContentType="application/vnd.openxmlformats-officedocument.presentationml.tags+xml"/>
  <Override PartName="/ppt/notesSlides/notesSlide15.xml" ContentType="application/vnd.openxmlformats-officedocument.presentationml.notesSlide+xml"/>
  <Override PartName="/ppt/tags/tag2792.xml" ContentType="application/vnd.openxmlformats-officedocument.presentationml.tags+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793.xml" ContentType="application/vnd.openxmlformats-officedocument.presentationml.tags+xml"/>
  <Override PartName="/ppt/notesSlides/notesSlide17.xml" ContentType="application/vnd.openxmlformats-officedocument.presentationml.notesSlide+xml"/>
  <Override PartName="/ppt/tags/tag2794.xml" ContentType="application/vnd.openxmlformats-officedocument.presentationml.tags+xml"/>
  <Override PartName="/ppt/notesSlides/notesSlide18.xml" ContentType="application/vnd.openxmlformats-officedocument.presentationml.notesSlide+xml"/>
  <Override PartName="/ppt/tags/tag2795.xml" ContentType="application/vnd.openxmlformats-officedocument.presentationml.tags+xml"/>
  <Override PartName="/ppt/notesSlides/notesSlide19.xml" ContentType="application/vnd.openxmlformats-officedocument.presentationml.notesSlide+xml"/>
  <Override PartName="/ppt/tags/tag2796.xml" ContentType="application/vnd.openxmlformats-officedocument.presentationml.tags+xml"/>
  <Override PartName="/ppt/notesSlides/notesSlide20.xml" ContentType="application/vnd.openxmlformats-officedocument.presentationml.notesSlide+xml"/>
  <Override PartName="/ppt/tags/tag2797.xml" ContentType="application/vnd.openxmlformats-officedocument.presentationml.tags+xml"/>
  <Override PartName="/ppt/notesSlides/notesSlide21.xml" ContentType="application/vnd.openxmlformats-officedocument.presentationml.notesSlide+xml"/>
  <Override PartName="/ppt/tags/tag2798.xml" ContentType="application/vnd.openxmlformats-officedocument.presentationml.tags+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799.xml" ContentType="application/vnd.openxmlformats-officedocument.presentationml.tags+xml"/>
  <Override PartName="/ppt/notesSlides/notesSlide23.xml" ContentType="application/vnd.openxmlformats-officedocument.presentationml.notesSlide+xml"/>
  <Override PartName="/ppt/tags/tag2800.xml" ContentType="application/vnd.openxmlformats-officedocument.presentationml.tags+xml"/>
  <Override PartName="/ppt/notesSlides/notesSlide24.xml" ContentType="application/vnd.openxmlformats-officedocument.presentationml.notesSlide+xml"/>
  <Override PartName="/ppt/tags/tag2801.xml" ContentType="application/vnd.openxmlformats-officedocument.presentationml.tags+xml"/>
  <Override PartName="/ppt/notesSlides/notesSlide25.xml" ContentType="application/vnd.openxmlformats-officedocument.presentationml.notesSlide+xml"/>
  <Override PartName="/ppt/tags/tag2802.xml" ContentType="application/vnd.openxmlformats-officedocument.presentationml.tags+xml"/>
  <Override PartName="/ppt/notesSlides/notesSlide26.xml" ContentType="application/vnd.openxmlformats-officedocument.presentationml.notesSlide+xml"/>
  <Override PartName="/ppt/tags/tag2803.xml" ContentType="application/vnd.openxmlformats-officedocument.presentationml.tags+xml"/>
  <Override PartName="/ppt/notesSlides/notesSlide27.xml" ContentType="application/vnd.openxmlformats-officedocument.presentationml.notesSlide+xml"/>
  <Override PartName="/ppt/tags/tag2804.xml" ContentType="application/vnd.openxmlformats-officedocument.presentationml.tags+xml"/>
  <Override PartName="/ppt/notesSlides/notesSlide28.xml" ContentType="application/vnd.openxmlformats-officedocument.presentationml.notesSlide+xml"/>
  <Override PartName="/ppt/tags/tag2805.xml" ContentType="application/vnd.openxmlformats-officedocument.presentationml.tags+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806.xml" ContentType="application/vnd.openxmlformats-officedocument.presentationml.tags+xml"/>
  <Override PartName="/ppt/notesSlides/notesSlide3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07.xml" ContentType="application/vnd.openxmlformats-officedocument.presentationml.tags+xml"/>
  <Override PartName="/ppt/notesSlides/notesSlide3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808.xml" ContentType="application/vnd.openxmlformats-officedocument.presentationml.tags+xml"/>
  <Override PartName="/ppt/notesSlides/notesSlide3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809.xml" ContentType="application/vnd.openxmlformats-officedocument.presentationml.tags+xml"/>
  <Override PartName="/ppt/notesSlides/notesSlide3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810.xml" ContentType="application/vnd.openxmlformats-officedocument.presentationml.tags+xml"/>
  <Override PartName="/ppt/notesSlides/notesSlide3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811.xml" ContentType="application/vnd.openxmlformats-officedocument.presentationml.tags+xml"/>
  <Override PartName="/ppt/notesSlides/notesSlide3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812.xml" ContentType="application/vnd.openxmlformats-officedocument.presentationml.tags+xml"/>
  <Override PartName="/ppt/notesSlides/notesSlide36.xml" ContentType="application/vnd.openxmlformats-officedocument.presentationml.notesSlide+xml"/>
  <Override PartName="/ppt/tags/tag2813.xml" ContentType="application/vnd.openxmlformats-officedocument.presentationml.tags+xml"/>
  <Override PartName="/ppt/notesSlides/notesSlide3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814.xml" ContentType="application/vnd.openxmlformats-officedocument.presentationml.tags+xml"/>
  <Override PartName="/ppt/notesSlides/notesSlide3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2815.xml" ContentType="application/vnd.openxmlformats-officedocument.presentationml.tags+xml"/>
  <Override PartName="/ppt/notesSlides/notesSlide3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2816.xml" ContentType="application/vnd.openxmlformats-officedocument.presentationml.tags+xml"/>
  <Override PartName="/ppt/notesSlides/notesSlide40.xml" ContentType="application/vnd.openxmlformats-officedocument.presentationml.notesSlide+xml"/>
  <Override PartName="/ppt/tags/tag2817.xml" ContentType="application/vnd.openxmlformats-officedocument.presentationml.tags+xml"/>
  <Override PartName="/ppt/notesSlides/notesSlide4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2818.xml" ContentType="application/vnd.openxmlformats-officedocument.presentationml.tags+xml"/>
  <Override PartName="/ppt/notesSlides/notesSlide4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2819.xml" ContentType="application/vnd.openxmlformats-officedocument.presentationml.tags+xml"/>
  <Override PartName="/ppt/notesSlides/notesSlide4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2820.xml" ContentType="application/vnd.openxmlformats-officedocument.presentationml.tags+xml"/>
  <Override PartName="/ppt/notesSlides/notesSlide4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2821.xml" ContentType="application/vnd.openxmlformats-officedocument.presentationml.tags+xml"/>
  <Override PartName="/ppt/notesSlides/notesSlide4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6.xml" ContentType="application/vnd.openxmlformats-officedocument.presentationml.notesSlide+xml"/>
  <Override PartName="/ppt/tags/tag2822.xml" ContentType="application/vnd.openxmlformats-officedocument.presentationml.tags+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35"/>
  </p:notesMasterIdLst>
  <p:handoutMasterIdLst>
    <p:handoutMasterId r:id="rId136"/>
  </p:handoutMasterIdLst>
  <p:sldIdLst>
    <p:sldId id="311" r:id="rId74"/>
    <p:sldId id="596" r:id="rId75"/>
    <p:sldId id="531" r:id="rId76"/>
    <p:sldId id="594" r:id="rId77"/>
    <p:sldId id="595" r:id="rId78"/>
    <p:sldId id="455" r:id="rId79"/>
    <p:sldId id="454" r:id="rId80"/>
    <p:sldId id="456" r:id="rId81"/>
    <p:sldId id="576" r:id="rId82"/>
    <p:sldId id="589" r:id="rId83"/>
    <p:sldId id="592" r:id="rId84"/>
    <p:sldId id="593" r:id="rId85"/>
    <p:sldId id="579" r:id="rId86"/>
    <p:sldId id="590" r:id="rId87"/>
    <p:sldId id="591" r:id="rId88"/>
    <p:sldId id="584" r:id="rId89"/>
    <p:sldId id="585" r:id="rId90"/>
    <p:sldId id="586" r:id="rId91"/>
    <p:sldId id="587" r:id="rId92"/>
    <p:sldId id="588" r:id="rId93"/>
    <p:sldId id="534" r:id="rId94"/>
    <p:sldId id="536" r:id="rId95"/>
    <p:sldId id="537" r:id="rId96"/>
    <p:sldId id="538" r:id="rId97"/>
    <p:sldId id="539" r:id="rId98"/>
    <p:sldId id="541" r:id="rId99"/>
    <p:sldId id="542" r:id="rId100"/>
    <p:sldId id="543" r:id="rId101"/>
    <p:sldId id="546" r:id="rId102"/>
    <p:sldId id="547" r:id="rId103"/>
    <p:sldId id="548" r:id="rId104"/>
    <p:sldId id="549" r:id="rId105"/>
    <p:sldId id="550" r:id="rId106"/>
    <p:sldId id="551" r:id="rId107"/>
    <p:sldId id="552" r:id="rId108"/>
    <p:sldId id="553" r:id="rId109"/>
    <p:sldId id="555" r:id="rId110"/>
    <p:sldId id="556" r:id="rId111"/>
    <p:sldId id="557" r:id="rId112"/>
    <p:sldId id="558" r:id="rId113"/>
    <p:sldId id="559" r:id="rId114"/>
    <p:sldId id="560" r:id="rId115"/>
    <p:sldId id="561" r:id="rId116"/>
    <p:sldId id="562" r:id="rId117"/>
    <p:sldId id="563" r:id="rId118"/>
    <p:sldId id="566" r:id="rId119"/>
    <p:sldId id="567" r:id="rId120"/>
    <p:sldId id="568" r:id="rId121"/>
    <p:sldId id="569" r:id="rId122"/>
    <p:sldId id="570" r:id="rId123"/>
    <p:sldId id="571" r:id="rId124"/>
    <p:sldId id="572" r:id="rId125"/>
    <p:sldId id="573" r:id="rId126"/>
    <p:sldId id="574" r:id="rId127"/>
    <p:sldId id="575" r:id="rId128"/>
    <p:sldId id="578" r:id="rId129"/>
    <p:sldId id="577" r:id="rId130"/>
    <p:sldId id="581" r:id="rId131"/>
    <p:sldId id="582" r:id="rId132"/>
    <p:sldId id="583" r:id="rId133"/>
    <p:sldId id="329" r:id="rId134"/>
  </p:sldIdLst>
  <p:sldSz cx="9906000" cy="6858000" type="A4"/>
  <p:notesSz cx="6797675" cy="9874250"/>
  <p:custDataLst>
    <p:tags r:id="rId13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5" autoAdjust="0"/>
    <p:restoredTop sz="89785" autoAdjust="0"/>
  </p:normalViewPr>
  <p:slideViewPr>
    <p:cSldViewPr snapToGrid="0">
      <p:cViewPr>
        <p:scale>
          <a:sx n="75" d="100"/>
          <a:sy n="75" d="100"/>
        </p:scale>
        <p:origin x="-2034" y="-378"/>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33" Type="http://schemas.openxmlformats.org/officeDocument/2006/relationships/slide" Target="slides/slide60.xml"/><Relationship Id="rId138" Type="http://schemas.openxmlformats.org/officeDocument/2006/relationships/presProps" Target="presProps.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slide" Target="slides/slide50.xml"/><Relationship Id="rId128" Type="http://schemas.openxmlformats.org/officeDocument/2006/relationships/slide" Target="slides/slide55.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113" Type="http://schemas.openxmlformats.org/officeDocument/2006/relationships/slide" Target="slides/slide40.xml"/><Relationship Id="rId118" Type="http://schemas.openxmlformats.org/officeDocument/2006/relationships/slide" Target="slides/slide45.xml"/><Relationship Id="rId134" Type="http://schemas.openxmlformats.org/officeDocument/2006/relationships/slide" Target="slides/slide61.xml"/><Relationship Id="rId13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slide" Target="slides/slide51.xml"/><Relationship Id="rId129" Type="http://schemas.openxmlformats.org/officeDocument/2006/relationships/slide" Target="slides/slide56.xml"/><Relationship Id="rId137"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32" Type="http://schemas.openxmlformats.org/officeDocument/2006/relationships/slide" Target="slides/slide59.xml"/><Relationship Id="rId14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slide" Target="slides/slide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130" Type="http://schemas.openxmlformats.org/officeDocument/2006/relationships/slide" Target="slides/slide57.xml"/><Relationship Id="rId13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slide" Target="slides/slide52.xml"/><Relationship Id="rId141"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131" Type="http://schemas.openxmlformats.org/officeDocument/2006/relationships/slide" Target="slides/slide58.xml"/><Relationship Id="rId136" Type="http://schemas.openxmlformats.org/officeDocument/2006/relationships/handoutMaster" Target="handoutMasters/handoutMaster1.xml"/><Relationship Id="rId61" Type="http://schemas.openxmlformats.org/officeDocument/2006/relationships/slideMaster" Target="slideMasters/slideMaster58.xml"/><Relationship Id="rId82" Type="http://schemas.openxmlformats.org/officeDocument/2006/relationships/slide" Target="slides/slide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Master" Target="slideMasters/slideMaster53.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26" Type="http://schemas.openxmlformats.org/officeDocument/2006/relationships/slide" Target="slides/slide53.xml"/></Relationships>
</file>

<file path=ppt/diagrams/_rels/data10.xml.rels><?xml version="1.0" encoding="UTF-8" standalone="yes"?>
<Relationships xmlns="http://schemas.openxmlformats.org/package/2006/relationships"><Relationship Id="rId1" Type="http://schemas.openxmlformats.org/officeDocument/2006/relationships/image" Target="../media/image89.png"/></Relationships>
</file>

<file path=ppt/diagrams/_rels/data13.xml.rels><?xml version="1.0" encoding="UTF-8" standalone="yes"?>
<Relationships xmlns="http://schemas.openxmlformats.org/package/2006/relationships"><Relationship Id="rId1" Type="http://schemas.openxmlformats.org/officeDocument/2006/relationships/image" Target="../media/image91.png"/></Relationships>
</file>

<file path=ppt/diagrams/_rels/data14.xml.rels><?xml version="1.0" encoding="UTF-8" standalone="yes"?>
<Relationships xmlns="http://schemas.openxmlformats.org/package/2006/relationships"><Relationship Id="rId1" Type="http://schemas.openxmlformats.org/officeDocument/2006/relationships/image" Target="../media/image92.png"/></Relationships>
</file>

<file path=ppt/diagrams/_rels/data17.xml.rels><?xml version="1.0" encoding="UTF-8" standalone="yes"?>
<Relationships xmlns="http://schemas.openxmlformats.org/package/2006/relationships"><Relationship Id="rId1" Type="http://schemas.openxmlformats.org/officeDocument/2006/relationships/image" Target="../media/image94.png"/></Relationships>
</file>

<file path=ppt/diagrams/_rels/data18.xml.rels><?xml version="1.0" encoding="UTF-8" standalone="yes"?>
<Relationships xmlns="http://schemas.openxmlformats.org/package/2006/relationships"><Relationship Id="rId1" Type="http://schemas.openxmlformats.org/officeDocument/2006/relationships/image" Target="../media/image95.png"/></Relationships>
</file>

<file path=ppt/diagrams/_rels/data2.xml.rels><?xml version="1.0" encoding="UTF-8" standalone="yes"?>
<Relationships xmlns="http://schemas.openxmlformats.org/package/2006/relationships"><Relationship Id="rId1" Type="http://schemas.openxmlformats.org/officeDocument/2006/relationships/image" Target="../media/image68.png"/></Relationships>
</file>

<file path=ppt/diagrams/_rels/data5.xml.rels><?xml version="1.0" encoding="UTF-8" standalone="yes"?>
<Relationships xmlns="http://schemas.openxmlformats.org/package/2006/relationships"><Relationship Id="rId1" Type="http://schemas.openxmlformats.org/officeDocument/2006/relationships/image" Target="../media/image84.png"/></Relationships>
</file>

<file path=ppt/diagrams/_rels/data6.xml.rels><?xml version="1.0" encoding="UTF-8" standalone="yes"?>
<Relationships xmlns="http://schemas.openxmlformats.org/package/2006/relationships"><Relationship Id="rId1" Type="http://schemas.openxmlformats.org/officeDocument/2006/relationships/image" Target="../media/image85.png"/></Relationships>
</file>

<file path=ppt/diagrams/_rels/data7.xml.rels><?xml version="1.0" encoding="UTF-8" standalone="yes"?>
<Relationships xmlns="http://schemas.openxmlformats.org/package/2006/relationships"><Relationship Id="rId1" Type="http://schemas.openxmlformats.org/officeDocument/2006/relationships/image" Target="../media/image86.png"/></Relationships>
</file>

<file path=ppt/diagrams/_rels/data8.xml.rels><?xml version="1.0" encoding="UTF-8" standalone="yes"?>
<Relationships xmlns="http://schemas.openxmlformats.org/package/2006/relationships"><Relationship Id="rId1" Type="http://schemas.openxmlformats.org/officeDocument/2006/relationships/image" Target="../media/image87.png"/></Relationships>
</file>

<file path=ppt/diagrams/_rels/data9.xml.rels><?xml version="1.0" encoding="UTF-8" standalone="yes"?>
<Relationships xmlns="http://schemas.openxmlformats.org/package/2006/relationships"><Relationship Id="rId1" Type="http://schemas.openxmlformats.org/officeDocument/2006/relationships/image" Target="../media/image88.png"/></Relationships>
</file>

<file path=ppt/diagrams/_rels/drawing10.xml.rels><?xml version="1.0" encoding="UTF-8" standalone="yes"?>
<Relationships xmlns="http://schemas.openxmlformats.org/package/2006/relationships"><Relationship Id="rId1" Type="http://schemas.openxmlformats.org/officeDocument/2006/relationships/image" Target="../media/image89.png"/></Relationships>
</file>

<file path=ppt/diagrams/_rels/drawing13.xml.rels><?xml version="1.0" encoding="UTF-8" standalone="yes"?>
<Relationships xmlns="http://schemas.openxmlformats.org/package/2006/relationships"><Relationship Id="rId1" Type="http://schemas.openxmlformats.org/officeDocument/2006/relationships/image" Target="../media/image91.png"/></Relationships>
</file>

<file path=ppt/diagrams/_rels/drawing14.xml.rels><?xml version="1.0" encoding="UTF-8" standalone="yes"?>
<Relationships xmlns="http://schemas.openxmlformats.org/package/2006/relationships"><Relationship Id="rId1" Type="http://schemas.openxmlformats.org/officeDocument/2006/relationships/image" Target="../media/image92.png"/></Relationships>
</file>

<file path=ppt/diagrams/_rels/drawing17.xml.rels><?xml version="1.0" encoding="UTF-8" standalone="yes"?>
<Relationships xmlns="http://schemas.openxmlformats.org/package/2006/relationships"><Relationship Id="rId1" Type="http://schemas.openxmlformats.org/officeDocument/2006/relationships/image" Target="../media/image94.png"/></Relationships>
</file>

<file path=ppt/diagrams/_rels/drawing18.xml.rels><?xml version="1.0" encoding="UTF-8" standalone="yes"?>
<Relationships xmlns="http://schemas.openxmlformats.org/package/2006/relationships"><Relationship Id="rId1" Type="http://schemas.openxmlformats.org/officeDocument/2006/relationships/image" Target="../media/image95.png"/></Relationships>
</file>

<file path=ppt/diagrams/_rels/drawing2.xml.rels><?xml version="1.0" encoding="UTF-8" standalone="yes"?>
<Relationships xmlns="http://schemas.openxmlformats.org/package/2006/relationships"><Relationship Id="rId1" Type="http://schemas.openxmlformats.org/officeDocument/2006/relationships/image" Target="../media/image68.png"/></Relationships>
</file>

<file path=ppt/diagrams/_rels/drawing5.xml.rels><?xml version="1.0" encoding="UTF-8" standalone="yes"?>
<Relationships xmlns="http://schemas.openxmlformats.org/package/2006/relationships"><Relationship Id="rId1" Type="http://schemas.openxmlformats.org/officeDocument/2006/relationships/image" Target="../media/image84.png"/></Relationships>
</file>

<file path=ppt/diagrams/_rels/drawing6.xml.rels><?xml version="1.0" encoding="UTF-8" standalone="yes"?>
<Relationships xmlns="http://schemas.openxmlformats.org/package/2006/relationships"><Relationship Id="rId1" Type="http://schemas.openxmlformats.org/officeDocument/2006/relationships/image" Target="../media/image85.png"/></Relationships>
</file>

<file path=ppt/diagrams/_rels/drawing7.xml.rels><?xml version="1.0" encoding="UTF-8" standalone="yes"?>
<Relationships xmlns="http://schemas.openxmlformats.org/package/2006/relationships"><Relationship Id="rId1" Type="http://schemas.openxmlformats.org/officeDocument/2006/relationships/image" Target="../media/image86.png"/></Relationships>
</file>

<file path=ppt/diagrams/_rels/drawing8.xml.rels><?xml version="1.0" encoding="UTF-8" standalone="yes"?>
<Relationships xmlns="http://schemas.openxmlformats.org/package/2006/relationships"><Relationship Id="rId1" Type="http://schemas.openxmlformats.org/officeDocument/2006/relationships/image" Target="../media/image87.png"/></Relationships>
</file>

<file path=ppt/diagrams/_rels/drawing9.xml.rels><?xml version="1.0" encoding="UTF-8" standalone="yes"?>
<Relationships xmlns="http://schemas.openxmlformats.org/package/2006/relationships"><Relationship Id="rId1" Type="http://schemas.openxmlformats.org/officeDocument/2006/relationships/image" Target="../media/image88.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DE262E-458D-44F3-9895-B44046B4C49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6F36334-39F9-4CDB-94DB-47B33E9669F3}">
      <dgm:prSet phldrT="[Text]" custT="1"/>
      <dgm:spPr/>
      <dgm:t>
        <a:bodyPr/>
        <a:lstStyle/>
        <a:p>
          <a:r>
            <a:rPr lang="en-US" sz="2000" b="1" dirty="0" smtClean="0"/>
            <a:t>Web Based Java Tool</a:t>
          </a:r>
          <a:endParaRPr lang="en-US" sz="2000" dirty="0"/>
        </a:p>
      </dgm:t>
    </dgm:pt>
    <dgm:pt modelId="{B32B9A37-F5C2-4192-8CC9-37643C139617}" type="parTrans" cxnId="{2DC88FA7-BBF4-40D2-AE82-248F9EBF0683}">
      <dgm:prSet/>
      <dgm:spPr/>
      <dgm:t>
        <a:bodyPr/>
        <a:lstStyle/>
        <a:p>
          <a:endParaRPr lang="en-US" sz="2000"/>
        </a:p>
      </dgm:t>
    </dgm:pt>
    <dgm:pt modelId="{201279F3-90E1-49A6-B9C5-B61A5F08EBF0}" type="sibTrans" cxnId="{2DC88FA7-BBF4-40D2-AE82-248F9EBF0683}">
      <dgm:prSet/>
      <dgm:spPr/>
      <dgm:t>
        <a:bodyPr/>
        <a:lstStyle/>
        <a:p>
          <a:endParaRPr lang="en-US" sz="2000"/>
        </a:p>
      </dgm:t>
    </dgm:pt>
    <dgm:pt modelId="{110C893C-510D-42C4-820E-32C1F0603EBD}">
      <dgm:prSet phldrT="[Text]" custT="1"/>
      <dgm:spPr/>
      <dgm:t>
        <a:bodyPr/>
        <a:lstStyle/>
        <a:p>
          <a:r>
            <a:rPr lang="en-US" sz="2000" b="1" dirty="0" smtClean="0"/>
            <a:t>Open Source</a:t>
          </a:r>
          <a:endParaRPr lang="en-US" sz="2000" dirty="0"/>
        </a:p>
      </dgm:t>
    </dgm:pt>
    <dgm:pt modelId="{2C5C763A-3A0C-4747-91B0-23BB6E6F638B}" type="parTrans" cxnId="{AF558246-69EC-49D1-AA14-B4169082D850}">
      <dgm:prSet/>
      <dgm:spPr/>
      <dgm:t>
        <a:bodyPr/>
        <a:lstStyle/>
        <a:p>
          <a:endParaRPr lang="en-US" sz="2000"/>
        </a:p>
      </dgm:t>
    </dgm:pt>
    <dgm:pt modelId="{47321F43-22A2-430D-BB0E-BA0D359AA5A6}" type="sibTrans" cxnId="{AF558246-69EC-49D1-AA14-B4169082D850}">
      <dgm:prSet/>
      <dgm:spPr/>
      <dgm:t>
        <a:bodyPr/>
        <a:lstStyle/>
        <a:p>
          <a:endParaRPr lang="en-US" sz="2000"/>
        </a:p>
      </dgm:t>
    </dgm:pt>
    <dgm:pt modelId="{9AD4F48B-1F34-4380-965D-9D62AB5AC5B3}">
      <dgm:prSet phldrT="[Text]" custT="1"/>
      <dgm:spPr/>
      <dgm:t>
        <a:bodyPr/>
        <a:lstStyle/>
        <a:p>
          <a:r>
            <a:rPr lang="en-US" sz="2000" b="1" dirty="0" smtClean="0"/>
            <a:t>Highly Extensible</a:t>
          </a:r>
          <a:endParaRPr lang="en-US" sz="2000" dirty="0"/>
        </a:p>
      </dgm:t>
    </dgm:pt>
    <dgm:pt modelId="{44ECECA0-9EB1-40AB-8D6E-CBC02D3E7E5A}" type="parTrans" cxnId="{DAF80F4F-40AD-437B-81E3-314DF5C17632}">
      <dgm:prSet/>
      <dgm:spPr/>
      <dgm:t>
        <a:bodyPr/>
        <a:lstStyle/>
        <a:p>
          <a:endParaRPr lang="en-US" sz="2000"/>
        </a:p>
      </dgm:t>
    </dgm:pt>
    <dgm:pt modelId="{BB42A31E-44FF-4EEF-BA59-CEF441D4313E}" type="sibTrans" cxnId="{DAF80F4F-40AD-437B-81E3-314DF5C17632}">
      <dgm:prSet/>
      <dgm:spPr/>
      <dgm:t>
        <a:bodyPr/>
        <a:lstStyle/>
        <a:p>
          <a:endParaRPr lang="en-US" sz="2000"/>
        </a:p>
      </dgm:t>
    </dgm:pt>
    <dgm:pt modelId="{3775C512-9507-4EF7-B7AE-6227866D6481}" type="pres">
      <dgm:prSet presAssocID="{6CDE262E-458D-44F3-9895-B44046B4C49D}" presName="linear" presStyleCnt="0">
        <dgm:presLayoutVars>
          <dgm:animLvl val="lvl"/>
          <dgm:resizeHandles val="exact"/>
        </dgm:presLayoutVars>
      </dgm:prSet>
      <dgm:spPr/>
      <dgm:t>
        <a:bodyPr/>
        <a:lstStyle/>
        <a:p>
          <a:endParaRPr lang="en-US"/>
        </a:p>
      </dgm:t>
    </dgm:pt>
    <dgm:pt modelId="{019CC761-9441-43D7-8A85-9F9CE4D253FA}" type="pres">
      <dgm:prSet presAssocID="{D6F36334-39F9-4CDB-94DB-47B33E9669F3}" presName="parentText" presStyleLbl="node1" presStyleIdx="0" presStyleCnt="3">
        <dgm:presLayoutVars>
          <dgm:chMax val="0"/>
          <dgm:bulletEnabled val="1"/>
        </dgm:presLayoutVars>
      </dgm:prSet>
      <dgm:spPr/>
      <dgm:t>
        <a:bodyPr/>
        <a:lstStyle/>
        <a:p>
          <a:endParaRPr lang="en-US"/>
        </a:p>
      </dgm:t>
    </dgm:pt>
    <dgm:pt modelId="{F1A0D1DB-F684-4991-B66C-9625ABDF5E56}" type="pres">
      <dgm:prSet presAssocID="{201279F3-90E1-49A6-B9C5-B61A5F08EBF0}" presName="spacer" presStyleCnt="0"/>
      <dgm:spPr/>
    </dgm:pt>
    <dgm:pt modelId="{054509CB-1364-49EF-9F58-D56FA42AD00B}" type="pres">
      <dgm:prSet presAssocID="{110C893C-510D-42C4-820E-32C1F0603EBD}" presName="parentText" presStyleLbl="node1" presStyleIdx="1" presStyleCnt="3" custLinFactNeighborY="-3172">
        <dgm:presLayoutVars>
          <dgm:chMax val="0"/>
          <dgm:bulletEnabled val="1"/>
        </dgm:presLayoutVars>
      </dgm:prSet>
      <dgm:spPr/>
      <dgm:t>
        <a:bodyPr/>
        <a:lstStyle/>
        <a:p>
          <a:endParaRPr lang="en-US"/>
        </a:p>
      </dgm:t>
    </dgm:pt>
    <dgm:pt modelId="{DE9333B5-C6C3-4761-A984-9BBB24694FB1}" type="pres">
      <dgm:prSet presAssocID="{47321F43-22A2-430D-BB0E-BA0D359AA5A6}" presName="spacer" presStyleCnt="0"/>
      <dgm:spPr/>
    </dgm:pt>
    <dgm:pt modelId="{D5A187E9-5879-4DF8-BBB3-3335B545CAF7}" type="pres">
      <dgm:prSet presAssocID="{9AD4F48B-1F34-4380-965D-9D62AB5AC5B3}" presName="parentText" presStyleLbl="node1" presStyleIdx="2" presStyleCnt="3" custLinFactNeighborY="-3172">
        <dgm:presLayoutVars>
          <dgm:chMax val="0"/>
          <dgm:bulletEnabled val="1"/>
        </dgm:presLayoutVars>
      </dgm:prSet>
      <dgm:spPr/>
      <dgm:t>
        <a:bodyPr/>
        <a:lstStyle/>
        <a:p>
          <a:endParaRPr lang="en-US"/>
        </a:p>
      </dgm:t>
    </dgm:pt>
  </dgm:ptLst>
  <dgm:cxnLst>
    <dgm:cxn modelId="{5EE1CC52-49A0-44F7-B454-A28254B06025}" type="presOf" srcId="{110C893C-510D-42C4-820E-32C1F0603EBD}" destId="{054509CB-1364-49EF-9F58-D56FA42AD00B}" srcOrd="0" destOrd="0" presId="urn:microsoft.com/office/officeart/2005/8/layout/vList2"/>
    <dgm:cxn modelId="{8B3975A1-0134-4221-AA63-D1032FECA553}" type="presOf" srcId="{9AD4F48B-1F34-4380-965D-9D62AB5AC5B3}" destId="{D5A187E9-5879-4DF8-BBB3-3335B545CAF7}" srcOrd="0" destOrd="0" presId="urn:microsoft.com/office/officeart/2005/8/layout/vList2"/>
    <dgm:cxn modelId="{ACEC96F7-8325-4A33-A110-350102E6F7D7}" type="presOf" srcId="{6CDE262E-458D-44F3-9895-B44046B4C49D}" destId="{3775C512-9507-4EF7-B7AE-6227866D6481}" srcOrd="0" destOrd="0" presId="urn:microsoft.com/office/officeart/2005/8/layout/vList2"/>
    <dgm:cxn modelId="{2DC88FA7-BBF4-40D2-AE82-248F9EBF0683}" srcId="{6CDE262E-458D-44F3-9895-B44046B4C49D}" destId="{D6F36334-39F9-4CDB-94DB-47B33E9669F3}" srcOrd="0" destOrd="0" parTransId="{B32B9A37-F5C2-4192-8CC9-37643C139617}" sibTransId="{201279F3-90E1-49A6-B9C5-B61A5F08EBF0}"/>
    <dgm:cxn modelId="{EF563071-2DB5-4388-B759-8BC53828FE10}" type="presOf" srcId="{D6F36334-39F9-4CDB-94DB-47B33E9669F3}" destId="{019CC761-9441-43D7-8A85-9F9CE4D253FA}" srcOrd="0" destOrd="0" presId="urn:microsoft.com/office/officeart/2005/8/layout/vList2"/>
    <dgm:cxn modelId="{AF558246-69EC-49D1-AA14-B4169082D850}" srcId="{6CDE262E-458D-44F3-9895-B44046B4C49D}" destId="{110C893C-510D-42C4-820E-32C1F0603EBD}" srcOrd="1" destOrd="0" parTransId="{2C5C763A-3A0C-4747-91B0-23BB6E6F638B}" sibTransId="{47321F43-22A2-430D-BB0E-BA0D359AA5A6}"/>
    <dgm:cxn modelId="{DAF80F4F-40AD-437B-81E3-314DF5C17632}" srcId="{6CDE262E-458D-44F3-9895-B44046B4C49D}" destId="{9AD4F48B-1F34-4380-965D-9D62AB5AC5B3}" srcOrd="2" destOrd="0" parTransId="{44ECECA0-9EB1-40AB-8D6E-CBC02D3E7E5A}" sibTransId="{BB42A31E-44FF-4EEF-BA59-CEF441D4313E}"/>
    <dgm:cxn modelId="{B723FE01-B678-42E2-8235-4C5C6EA176F9}" type="presParOf" srcId="{3775C512-9507-4EF7-B7AE-6227866D6481}" destId="{019CC761-9441-43D7-8A85-9F9CE4D253FA}" srcOrd="0" destOrd="0" presId="urn:microsoft.com/office/officeart/2005/8/layout/vList2"/>
    <dgm:cxn modelId="{B8FCD1BD-61B3-4E00-AD6E-17327ED02496}" type="presParOf" srcId="{3775C512-9507-4EF7-B7AE-6227866D6481}" destId="{F1A0D1DB-F684-4991-B66C-9625ABDF5E56}" srcOrd="1" destOrd="0" presId="urn:microsoft.com/office/officeart/2005/8/layout/vList2"/>
    <dgm:cxn modelId="{3E5779C4-ED10-4BEA-B9E1-15ADCDE6F7EF}" type="presParOf" srcId="{3775C512-9507-4EF7-B7AE-6227866D6481}" destId="{054509CB-1364-49EF-9F58-D56FA42AD00B}" srcOrd="2" destOrd="0" presId="urn:microsoft.com/office/officeart/2005/8/layout/vList2"/>
    <dgm:cxn modelId="{7B2FB655-0BE1-412A-AEA4-042803DE5C8F}" type="presParOf" srcId="{3775C512-9507-4EF7-B7AE-6227866D6481}" destId="{DE9333B5-C6C3-4761-A984-9BBB24694FB1}" srcOrd="3" destOrd="0" presId="urn:microsoft.com/office/officeart/2005/8/layout/vList2"/>
    <dgm:cxn modelId="{7CD35166-6321-4860-92CC-D4D5D29896B5}" type="presParOf" srcId="{3775C512-9507-4EF7-B7AE-6227866D6481}" destId="{D5A187E9-5879-4DF8-BBB3-3335B545CAF7}"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EF4595A-C8FA-4C7E-A98C-563B56353276}" type="doc">
      <dgm:prSet loTypeId="urn:microsoft.com/office/officeart/2005/8/layout/vList4#6"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bertura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EB702EC9-BDB0-4D10-AA81-CED31715DF6B}">
      <dgm:prSet custT="1"/>
      <dgm:spPr/>
      <dgm:t>
        <a:bodyPr anchor="ctr"/>
        <a:lstStyle/>
        <a:p>
          <a:r>
            <a:rPr lang="en-US" sz="2000" b="1" dirty="0" smtClean="0"/>
            <a:t>Findbugs </a:t>
          </a:r>
          <a:endParaRPr lang="en-US" sz="2000" b="1" dirty="0"/>
        </a:p>
      </dgm:t>
    </dgm:pt>
    <dgm:pt modelId="{9518057B-F230-4684-8146-79739306E895}" type="parTrans" cxnId="{640740F9-AEC5-48A2-986F-C1448994739A}">
      <dgm:prSet/>
      <dgm:spPr/>
      <dgm:t>
        <a:bodyPr/>
        <a:lstStyle/>
        <a:p>
          <a:endParaRPr lang="en-US" sz="2000"/>
        </a:p>
      </dgm:t>
    </dgm:pt>
    <dgm:pt modelId="{ABA2F3B0-0CC2-4F03-8F9E-4D754F7C2500}" type="sibTrans" cxnId="{640740F9-AEC5-48A2-986F-C1448994739A}">
      <dgm:prSet/>
      <dgm:spPr/>
      <dgm:t>
        <a:bodyPr/>
        <a:lstStyle/>
        <a:p>
          <a:endParaRPr lang="en-US" sz="2000"/>
        </a:p>
      </dgm:t>
    </dgm:pt>
    <dgm:pt modelId="{E46C2FEC-79D1-4219-8808-D56B42CE52E2}">
      <dgm:prSet custT="1"/>
      <dgm:spPr/>
      <dgm:t>
        <a:bodyPr anchor="ctr"/>
        <a:lstStyle/>
        <a:p>
          <a:r>
            <a:rPr lang="en-US" sz="2000" b="1" dirty="0" smtClean="0"/>
            <a:t>MSTest </a:t>
          </a:r>
          <a:endParaRPr lang="en-US" sz="2000" b="1" dirty="0"/>
        </a:p>
      </dgm:t>
    </dgm:pt>
    <dgm:pt modelId="{26982D35-3725-4583-AA9A-442CFD17B2D3}" type="parTrans" cxnId="{0107EB98-8DE3-449C-B5C4-5B6CB3F50F85}">
      <dgm:prSet/>
      <dgm:spPr/>
      <dgm:t>
        <a:bodyPr/>
        <a:lstStyle/>
        <a:p>
          <a:endParaRPr lang="en-US" sz="2000"/>
        </a:p>
      </dgm:t>
    </dgm:pt>
    <dgm:pt modelId="{AAFF271A-011E-412C-8954-9FFDA728AF4E}" type="sibTrans" cxnId="{0107EB98-8DE3-449C-B5C4-5B6CB3F50F85}">
      <dgm:prSet/>
      <dgm:spPr/>
      <dgm:t>
        <a:bodyPr/>
        <a:lstStyle/>
        <a:p>
          <a:endParaRPr lang="en-US" sz="2000"/>
        </a:p>
      </dgm:t>
    </dgm:pt>
    <dgm:pt modelId="{17CEC5E2-1357-457B-B455-C0DC0F3C682F}">
      <dgm:prSet custT="1"/>
      <dgm:spPr/>
      <dgm:t>
        <a:bodyPr anchor="ctr"/>
        <a:lstStyle/>
        <a:p>
          <a:r>
            <a:rPr lang="en-US" sz="2000" b="1" dirty="0" smtClean="0"/>
            <a:t>NCover </a:t>
          </a:r>
          <a:endParaRPr lang="en-US" sz="2000" b="1" dirty="0"/>
        </a:p>
      </dgm:t>
    </dgm:pt>
    <dgm:pt modelId="{E27D4E94-9D15-4262-9B87-443ABF660338}" type="parTrans" cxnId="{44E4B85F-F840-438A-9CA8-D39ECA332F69}">
      <dgm:prSet/>
      <dgm:spPr/>
      <dgm:t>
        <a:bodyPr/>
        <a:lstStyle/>
        <a:p>
          <a:endParaRPr lang="en-US" sz="2000"/>
        </a:p>
      </dgm:t>
    </dgm:pt>
    <dgm:pt modelId="{D4CB67AA-1485-48A2-BC66-E98978F6C28F}" type="sibTrans" cxnId="{44E4B85F-F840-438A-9CA8-D39ECA332F69}">
      <dgm:prSet/>
      <dgm:spPr/>
      <dgm:t>
        <a:bodyPr/>
        <a:lstStyle/>
        <a:p>
          <a:endParaRPr lang="en-US" sz="2000"/>
        </a:p>
      </dgm:t>
    </dgm:pt>
    <dgm:pt modelId="{6939A282-7BD0-4680-8251-230058762079}">
      <dgm:prSet custT="1"/>
      <dgm:spPr/>
      <dgm:t>
        <a:bodyPr anchor="ctr"/>
        <a:lstStyle/>
        <a:p>
          <a:r>
            <a:rPr lang="en-US" sz="2000" b="1" dirty="0" smtClean="0"/>
            <a:t>PMD</a:t>
          </a:r>
          <a:endParaRPr lang="en-US" sz="2000" dirty="0"/>
        </a:p>
      </dgm:t>
    </dgm:pt>
    <dgm:pt modelId="{4BEC45AA-C361-4906-8BAF-3E235B9FD6E5}" type="parTrans" cxnId="{A339964A-D63E-4E90-90E5-FA2690056609}">
      <dgm:prSet/>
      <dgm:spPr/>
      <dgm:t>
        <a:bodyPr/>
        <a:lstStyle/>
        <a:p>
          <a:endParaRPr lang="en-US" sz="2000"/>
        </a:p>
      </dgm:t>
    </dgm:pt>
    <dgm:pt modelId="{49E6603B-E7D8-4877-A58C-65A9D11660D2}" type="sibTrans" cxnId="{A339964A-D63E-4E90-90E5-FA2690056609}">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F93EFB0C-997C-4292-B926-D193170B6672}" type="presOf" srcId="{AEF4595A-C8FA-4C7E-A98C-563B56353276}" destId="{1CECF0B1-CF70-4767-95E8-CF1381FBE634}" srcOrd="0" destOrd="0" presId="urn:microsoft.com/office/officeart/2005/8/layout/vList4#6"/>
    <dgm:cxn modelId="{3739AF5C-724F-4FEE-A4F0-94AFCEBFD75E}" type="presOf" srcId="{EB702EC9-BDB0-4D10-AA81-CED31715DF6B}" destId="{EF34F95F-9900-455C-97AA-FDAB3AE3AEBE}" srcOrd="1" destOrd="2" presId="urn:microsoft.com/office/officeart/2005/8/layout/vList4#6"/>
    <dgm:cxn modelId="{EBE75A40-7E70-4F84-96DC-AEBC482FC01C}" type="presOf" srcId="{66D774DF-A322-41BA-A7ED-373E1462C439}" destId="{35983E14-7093-4298-B30D-8695D71E82FC}" srcOrd="0" destOrd="1" presId="urn:microsoft.com/office/officeart/2005/8/layout/vList4#6"/>
    <dgm:cxn modelId="{2EEA7130-2244-4DF3-B481-3A6354C2EE96}" type="presOf" srcId="{CA6C6C63-F70D-4465-BEBE-4E672C168216}" destId="{EF34F95F-9900-455C-97AA-FDAB3AE3AEBE}" srcOrd="1" destOrd="0" presId="urn:microsoft.com/office/officeart/2005/8/layout/vList4#6"/>
    <dgm:cxn modelId="{0107EB98-8DE3-449C-B5C4-5B6CB3F50F85}" srcId="{CA6C6C63-F70D-4465-BEBE-4E672C168216}" destId="{E46C2FEC-79D1-4219-8808-D56B42CE52E2}" srcOrd="2" destOrd="0" parTransId="{26982D35-3725-4583-AA9A-442CFD17B2D3}" sibTransId="{AAFF271A-011E-412C-8954-9FFDA728AF4E}"/>
    <dgm:cxn modelId="{1AB744B3-C84F-4EB9-BC6E-C05FAEBBC088}" type="presOf" srcId="{6939A282-7BD0-4680-8251-230058762079}" destId="{EF34F95F-9900-455C-97AA-FDAB3AE3AEBE}" srcOrd="1" destOrd="5" presId="urn:microsoft.com/office/officeart/2005/8/layout/vList4#6"/>
    <dgm:cxn modelId="{44E4B85F-F840-438A-9CA8-D39ECA332F69}" srcId="{CA6C6C63-F70D-4465-BEBE-4E672C168216}" destId="{17CEC5E2-1357-457B-B455-C0DC0F3C682F}" srcOrd="3" destOrd="0" parTransId="{E27D4E94-9D15-4262-9B87-443ABF660338}" sibTransId="{D4CB67AA-1485-48A2-BC66-E98978F6C28F}"/>
    <dgm:cxn modelId="{942E59F6-3C02-4821-8088-CCC3FC84AFAE}" type="presOf" srcId="{17CEC5E2-1357-457B-B455-C0DC0F3C682F}" destId="{EF34F95F-9900-455C-97AA-FDAB3AE3AEBE}" srcOrd="1" destOrd="4" presId="urn:microsoft.com/office/officeart/2005/8/layout/vList4#6"/>
    <dgm:cxn modelId="{B3F31736-3DCB-450F-9D0E-77F5D3E57C7E}" type="presOf" srcId="{E46C2FEC-79D1-4219-8808-D56B42CE52E2}" destId="{35983E14-7093-4298-B30D-8695D71E82FC}" srcOrd="0" destOrd="3" presId="urn:microsoft.com/office/officeart/2005/8/layout/vList4#6"/>
    <dgm:cxn modelId="{FB3FFA59-1243-427E-811B-91E63B45C43F}" type="presOf" srcId="{E46C2FEC-79D1-4219-8808-D56B42CE52E2}" destId="{EF34F95F-9900-455C-97AA-FDAB3AE3AEBE}" srcOrd="1" destOrd="3" presId="urn:microsoft.com/office/officeart/2005/8/layout/vList4#6"/>
    <dgm:cxn modelId="{07F5B36A-1E09-4DDE-9E1C-0F22DCC6C7FA}" type="presOf" srcId="{6939A282-7BD0-4680-8251-230058762079}" destId="{35983E14-7093-4298-B30D-8695D71E82FC}" srcOrd="0" destOrd="5" presId="urn:microsoft.com/office/officeart/2005/8/layout/vList4#6"/>
    <dgm:cxn modelId="{C88D7FA0-67E2-4DEF-9AEE-60862CC51A6E}" type="presOf" srcId="{17CEC5E2-1357-457B-B455-C0DC0F3C682F}" destId="{35983E14-7093-4298-B30D-8695D71E82FC}" srcOrd="0" destOrd="4" presId="urn:microsoft.com/office/officeart/2005/8/layout/vList4#6"/>
    <dgm:cxn modelId="{A339964A-D63E-4E90-90E5-FA2690056609}" srcId="{CA6C6C63-F70D-4465-BEBE-4E672C168216}" destId="{6939A282-7BD0-4680-8251-230058762079}" srcOrd="4" destOrd="0" parTransId="{4BEC45AA-C361-4906-8BAF-3E235B9FD6E5}" sibTransId="{49E6603B-E7D8-4877-A58C-65A9D11660D2}"/>
    <dgm:cxn modelId="{7C2581BC-2C97-44A6-B8BB-716D56E35F70}" type="presOf" srcId="{CA6C6C63-F70D-4465-BEBE-4E672C168216}" destId="{35983E14-7093-4298-B30D-8695D71E82FC}" srcOrd="0" destOrd="0" presId="urn:microsoft.com/office/officeart/2005/8/layout/vList4#6"/>
    <dgm:cxn modelId="{59C1BCDB-BE5A-4B71-A41B-C1290B0DA332}" type="presOf" srcId="{66D774DF-A322-41BA-A7ED-373E1462C439}" destId="{EF34F95F-9900-455C-97AA-FDAB3AE3AEBE}" srcOrd="1" destOrd="1" presId="urn:microsoft.com/office/officeart/2005/8/layout/vList4#6"/>
    <dgm:cxn modelId="{5B16E460-6E2F-44AB-A7F2-3A7B12107B0A}" srcId="{CA6C6C63-F70D-4465-BEBE-4E672C168216}" destId="{66D774DF-A322-41BA-A7ED-373E1462C439}" srcOrd="0" destOrd="0" parTransId="{7118CDC3-D838-45EB-928A-E5403CEA1F38}" sibTransId="{73A6B20E-78C5-4D31-97FC-08B2D6BC8BB1}"/>
    <dgm:cxn modelId="{F48DDF12-99DC-419E-92D5-2D58EB0458C1}" type="presOf" srcId="{EB702EC9-BDB0-4D10-AA81-CED31715DF6B}" destId="{35983E14-7093-4298-B30D-8695D71E82FC}" srcOrd="0" destOrd="2" presId="urn:microsoft.com/office/officeart/2005/8/layout/vList4#6"/>
    <dgm:cxn modelId="{984E0786-FEA8-4584-A0AE-25A34D4F00BE}" srcId="{AEF4595A-C8FA-4C7E-A98C-563B56353276}" destId="{CA6C6C63-F70D-4465-BEBE-4E672C168216}" srcOrd="0" destOrd="0" parTransId="{3306D787-9F20-4D6D-9851-20FA0AF0D530}" sibTransId="{732BFF71-4FFD-438D-BEC1-AD49BF197A37}"/>
    <dgm:cxn modelId="{640740F9-AEC5-48A2-986F-C1448994739A}" srcId="{CA6C6C63-F70D-4465-BEBE-4E672C168216}" destId="{EB702EC9-BDB0-4D10-AA81-CED31715DF6B}" srcOrd="1" destOrd="0" parTransId="{9518057B-F230-4684-8146-79739306E895}" sibTransId="{ABA2F3B0-0CC2-4F03-8F9E-4D754F7C2500}"/>
    <dgm:cxn modelId="{CF276148-737A-446A-A4E9-66D595EA7653}" type="presParOf" srcId="{1CECF0B1-CF70-4767-95E8-CF1381FBE634}" destId="{2EFE87F4-CF86-40A7-A95F-D5779B6A6492}" srcOrd="0" destOrd="0" presId="urn:microsoft.com/office/officeart/2005/8/layout/vList4#6"/>
    <dgm:cxn modelId="{E37624E7-6A3E-44E8-82CF-8BE1E6E08F90}" type="presParOf" srcId="{2EFE87F4-CF86-40A7-A95F-D5779B6A6492}" destId="{35983E14-7093-4298-B30D-8695D71E82FC}" srcOrd="0" destOrd="0" presId="urn:microsoft.com/office/officeart/2005/8/layout/vList4#6"/>
    <dgm:cxn modelId="{F174ED92-A82A-47D8-A32E-D7C1CB4F898A}" type="presParOf" srcId="{2EFE87F4-CF86-40A7-A95F-D5779B6A6492}" destId="{6DB07FC2-DB01-4F82-BC07-F35E7051AECE}" srcOrd="1" destOrd="0" presId="urn:microsoft.com/office/officeart/2005/8/layout/vList4#6"/>
    <dgm:cxn modelId="{180ED8FD-5A7E-4FC8-9E29-2931CF42A30D}" type="presParOf" srcId="{2EFE87F4-CF86-40A7-A95F-D5779B6A6492}" destId="{EF34F95F-9900-455C-97AA-FDAB3AE3AEBE}" srcOrd="2" destOrd="0" presId="urn:microsoft.com/office/officeart/2005/8/layout/vList4#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Artifact deployer </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Deploy </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Chuck Norris</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Emotional Jenkin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Claim</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CI Game</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6"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6"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6"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6"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6"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6" custLinFactY="-103510" custLinFactNeighborY="-200000">
        <dgm:presLayoutVars>
          <dgm:bulletEnabled val="1"/>
        </dgm:presLayoutVars>
      </dgm:prSet>
      <dgm:spPr/>
      <dgm:t>
        <a:bodyPr/>
        <a:lstStyle/>
        <a:p>
          <a:endParaRPr lang="en-US"/>
        </a:p>
      </dgm:t>
    </dgm:pt>
  </dgm:ptLst>
  <dgm:cxnLst>
    <dgm:cxn modelId="{F3FF52E7-ED6E-4F8B-BA1C-06A3A326F325}" type="presOf" srcId="{2EED45D4-5BEE-4A76-AB0B-5267F693D98C}" destId="{759E5986-9C24-4689-8160-14522891BBD0}" srcOrd="0" destOrd="0" presId="urn:microsoft.com/office/officeart/2005/8/layout/lProcess2"/>
    <dgm:cxn modelId="{C2AB5968-E32D-47F1-A350-0B144F4986F4}" srcId="{0C1E61B3-512F-4FA7-BE9E-7D573BA3346F}" destId="{16EE8BBE-00A9-49D7-8067-0C6F2C908362}" srcOrd="2" destOrd="0" parTransId="{B0F4679B-42CB-40C8-B1ED-731D4E0591A4}" sibTransId="{32FC5EC8-280A-41D7-8E11-45C785DED3DB}"/>
    <dgm:cxn modelId="{ED6BC363-D299-4227-B54F-363F8B91B2DF}" type="presOf" srcId="{16EE8BBE-00A9-49D7-8067-0C6F2C908362}" destId="{99AC6874-402E-4103-9065-F8FDD2008E93}" srcOrd="0" destOrd="0" presId="urn:microsoft.com/office/officeart/2005/8/layout/lProcess2"/>
    <dgm:cxn modelId="{B561D21C-ADBF-42FF-A4A6-FCD2EEB49B52}" srcId="{0C1E61B3-512F-4FA7-BE9E-7D573BA3346F}" destId="{5567D415-EC93-4C2D-99E7-B2CBEB6A1CDA}" srcOrd="1" destOrd="0" parTransId="{71BC70DA-08AF-4FB2-8887-54CAA30F7AE6}" sibTransId="{32566FA6-1365-4C82-AB42-27A666DEA0C2}"/>
    <dgm:cxn modelId="{A974F38A-4AF9-427C-9881-B8E0320424A8}" srcId="{0C1E61B3-512F-4FA7-BE9E-7D573BA3346F}" destId="{25F97770-9503-4C20-AAED-9B0BD233E979}" srcOrd="5" destOrd="0" parTransId="{9B15B1A3-7BAF-406C-AE81-5A0A3403404F}" sibTransId="{2FB53F4C-9C0C-4A6A-81F1-9A613A57F5E8}"/>
    <dgm:cxn modelId="{7ECEAB49-6B90-4A17-ADCA-22C4C76816BF}" srcId="{0C1E61B3-512F-4FA7-BE9E-7D573BA3346F}" destId="{3CA8017C-E9A4-400C-8D72-03889E2C1308}" srcOrd="0" destOrd="0" parTransId="{0D8A0C41-72B6-4DAF-85F3-220674C43478}" sibTransId="{EF1C5094-8747-45F7-847D-9736EF7319B5}"/>
    <dgm:cxn modelId="{04FB13D0-561C-4AF3-B6CB-AAF2ACD0F49E}" type="presOf" srcId="{3CA8017C-E9A4-400C-8D72-03889E2C1308}" destId="{CB6CB1F1-E92A-46B9-B48E-4DC50F16CB38}" srcOrd="0" destOrd="0" presId="urn:microsoft.com/office/officeart/2005/8/layout/lProcess2"/>
    <dgm:cxn modelId="{2062B0F3-45E9-463A-8D40-200F81FD3528}" type="presOf" srcId="{92C4C8A5-71F8-40AF-9C49-82264E856E8E}" destId="{D40E1E8F-8AD2-43DF-8483-2BC97B0A2D3C}" srcOrd="0" destOrd="0" presId="urn:microsoft.com/office/officeart/2005/8/layout/lProcess2"/>
    <dgm:cxn modelId="{5FB838CE-73FB-4022-A537-D36C78A13813}" type="presOf" srcId="{0C1E61B3-512F-4FA7-BE9E-7D573BA3346F}" destId="{333EADA3-C7A8-4C3E-87BD-7CD8DA87C54F}" srcOrd="0" destOrd="0" presId="urn:microsoft.com/office/officeart/2005/8/layout/lProcess2"/>
    <dgm:cxn modelId="{2715D21F-4ACC-4CFA-99B0-E1CB9D9D1B9B}" srcId="{0C1E61B3-512F-4FA7-BE9E-7D573BA3346F}" destId="{2641E4EC-B094-4655-9A18-5AEA15ADA785}" srcOrd="3" destOrd="0" parTransId="{7E45DB5F-1004-4FE1-9558-3289371F5412}" sibTransId="{D9E02321-27F0-4120-AAA6-912E98921178}"/>
    <dgm:cxn modelId="{15A0872A-FABA-49A8-9C63-2C4A9AA983E2}" type="presOf" srcId="{5567D415-EC93-4C2D-99E7-B2CBEB6A1CDA}" destId="{0EB0E548-E485-4EB9-B0C1-2F9E52C47E2F}" srcOrd="0" destOrd="0" presId="urn:microsoft.com/office/officeart/2005/8/layout/lProcess2"/>
    <dgm:cxn modelId="{6B52BCCB-D628-44DE-A95D-5D478D48B674}" srcId="{0C1E61B3-512F-4FA7-BE9E-7D573BA3346F}" destId="{92C4C8A5-71F8-40AF-9C49-82264E856E8E}" srcOrd="4" destOrd="0" parTransId="{FFD49C86-F581-4839-9CBB-4A9DEF1636DD}" sibTransId="{1923168E-82F0-47D8-A86C-A5341809FCE0}"/>
    <dgm:cxn modelId="{75C22F1C-D85E-420D-88BE-18CCEB0CE1C7}" srcId="{2EED45D4-5BEE-4A76-AB0B-5267F693D98C}" destId="{0C1E61B3-512F-4FA7-BE9E-7D573BA3346F}" srcOrd="0" destOrd="0" parTransId="{47471081-3901-44D6-AC28-A8E1F5BBE366}" sibTransId="{D6FFC4D7-0E6C-42BE-B531-0A5EF60E73FC}"/>
    <dgm:cxn modelId="{FE3B5F2C-372C-4214-AAFE-28331E8B2BED}" type="presOf" srcId="{0C1E61B3-512F-4FA7-BE9E-7D573BA3346F}" destId="{F9E3D432-0143-4025-A76F-3CB86178DA77}" srcOrd="1" destOrd="0" presId="urn:microsoft.com/office/officeart/2005/8/layout/lProcess2"/>
    <dgm:cxn modelId="{410A7162-3539-48B7-BB8D-3426EF965A70}" type="presOf" srcId="{2641E4EC-B094-4655-9A18-5AEA15ADA785}" destId="{39AC523B-E2B1-45A5-ADD0-CCFC848B699B}" srcOrd="0" destOrd="0" presId="urn:microsoft.com/office/officeart/2005/8/layout/lProcess2"/>
    <dgm:cxn modelId="{64669FBC-5AB3-42DC-9BD8-D444E3526D55}" type="presOf" srcId="{25F97770-9503-4C20-AAED-9B0BD233E979}" destId="{35C1A440-9791-45B0-89C9-08498A069A7D}" srcOrd="0" destOrd="0" presId="urn:microsoft.com/office/officeart/2005/8/layout/lProcess2"/>
    <dgm:cxn modelId="{178670A3-82FF-4E53-8FB8-4F8C8C47B98D}" type="presParOf" srcId="{759E5986-9C24-4689-8160-14522891BBD0}" destId="{97E536D2-0881-410A-8C69-551C86E905EA}" srcOrd="0" destOrd="0" presId="urn:microsoft.com/office/officeart/2005/8/layout/lProcess2"/>
    <dgm:cxn modelId="{50811251-B1DF-4DE6-8633-E67B787C0F2B}" type="presParOf" srcId="{97E536D2-0881-410A-8C69-551C86E905EA}" destId="{333EADA3-C7A8-4C3E-87BD-7CD8DA87C54F}" srcOrd="0" destOrd="0" presId="urn:microsoft.com/office/officeart/2005/8/layout/lProcess2"/>
    <dgm:cxn modelId="{F7A124F3-264B-4188-8CD2-FE2F0DCE2429}" type="presParOf" srcId="{97E536D2-0881-410A-8C69-551C86E905EA}" destId="{F9E3D432-0143-4025-A76F-3CB86178DA77}" srcOrd="1" destOrd="0" presId="urn:microsoft.com/office/officeart/2005/8/layout/lProcess2"/>
    <dgm:cxn modelId="{C7812F26-97B9-40BD-B5EC-A76637443866}" type="presParOf" srcId="{97E536D2-0881-410A-8C69-551C86E905EA}" destId="{AEA74385-A66E-4B57-8FEE-E0254E5064FF}" srcOrd="2" destOrd="0" presId="urn:microsoft.com/office/officeart/2005/8/layout/lProcess2"/>
    <dgm:cxn modelId="{1E90FF13-85FA-4141-89B8-DA97BD843DF2}" type="presParOf" srcId="{AEA74385-A66E-4B57-8FEE-E0254E5064FF}" destId="{952BA840-E212-4BBA-A739-0C30F7D51212}" srcOrd="0" destOrd="0" presId="urn:microsoft.com/office/officeart/2005/8/layout/lProcess2"/>
    <dgm:cxn modelId="{E5C4EA57-625A-434B-8ECC-D2E00CDA9641}" type="presParOf" srcId="{952BA840-E212-4BBA-A739-0C30F7D51212}" destId="{CB6CB1F1-E92A-46B9-B48E-4DC50F16CB38}" srcOrd="0" destOrd="0" presId="urn:microsoft.com/office/officeart/2005/8/layout/lProcess2"/>
    <dgm:cxn modelId="{F5DD1CD9-6F5A-410C-9B0B-CA79FEE45A3F}" type="presParOf" srcId="{952BA840-E212-4BBA-A739-0C30F7D51212}" destId="{45F87BDC-58AD-47DB-8B61-4F95BBED7A42}" srcOrd="1" destOrd="0" presId="urn:microsoft.com/office/officeart/2005/8/layout/lProcess2"/>
    <dgm:cxn modelId="{E867E6C3-15F3-4957-8128-B40D693DF777}" type="presParOf" srcId="{952BA840-E212-4BBA-A739-0C30F7D51212}" destId="{0EB0E548-E485-4EB9-B0C1-2F9E52C47E2F}" srcOrd="2" destOrd="0" presId="urn:microsoft.com/office/officeart/2005/8/layout/lProcess2"/>
    <dgm:cxn modelId="{A1CE1F72-9AFC-4A30-8DC1-74E1DBEAA3B7}" type="presParOf" srcId="{952BA840-E212-4BBA-A739-0C30F7D51212}" destId="{BA37282D-1197-4938-AA2C-F9DD1F9ACCC1}" srcOrd="3" destOrd="0" presId="urn:microsoft.com/office/officeart/2005/8/layout/lProcess2"/>
    <dgm:cxn modelId="{27222FA0-FCA1-4EAD-89F5-512CD820EAE7}" type="presParOf" srcId="{952BA840-E212-4BBA-A739-0C30F7D51212}" destId="{99AC6874-402E-4103-9065-F8FDD2008E93}" srcOrd="4" destOrd="0" presId="urn:microsoft.com/office/officeart/2005/8/layout/lProcess2"/>
    <dgm:cxn modelId="{FC8B6ACB-4C39-4649-8652-DE1B02045555}" type="presParOf" srcId="{952BA840-E212-4BBA-A739-0C30F7D51212}" destId="{5F6E02C2-D6EB-4664-8D34-876B6DDA9650}" srcOrd="5" destOrd="0" presId="urn:microsoft.com/office/officeart/2005/8/layout/lProcess2"/>
    <dgm:cxn modelId="{FED14964-9212-430F-9856-F94BAECF6F9F}" type="presParOf" srcId="{952BA840-E212-4BBA-A739-0C30F7D51212}" destId="{39AC523B-E2B1-45A5-ADD0-CCFC848B699B}" srcOrd="6" destOrd="0" presId="urn:microsoft.com/office/officeart/2005/8/layout/lProcess2"/>
    <dgm:cxn modelId="{E04083E5-E6F6-4CF5-8BCF-4D0BAB5D3198}" type="presParOf" srcId="{952BA840-E212-4BBA-A739-0C30F7D51212}" destId="{4480707F-A5D0-4E86-9A9C-CE3E10F11BAF}" srcOrd="7" destOrd="0" presId="urn:microsoft.com/office/officeart/2005/8/layout/lProcess2"/>
    <dgm:cxn modelId="{6DB57438-CD23-4518-85A6-C9E183CDFCCD}" type="presParOf" srcId="{952BA840-E212-4BBA-A739-0C30F7D51212}" destId="{D40E1E8F-8AD2-43DF-8483-2BC97B0A2D3C}" srcOrd="8" destOrd="0" presId="urn:microsoft.com/office/officeart/2005/8/layout/lProcess2"/>
    <dgm:cxn modelId="{B6F0CB5C-B40B-4176-AE59-DC55C81ACA6C}" type="presParOf" srcId="{952BA840-E212-4BBA-A739-0C30F7D51212}" destId="{F86F42A0-C411-4808-95D7-3744B2782132}" srcOrd="9" destOrd="0" presId="urn:microsoft.com/office/officeart/2005/8/layout/lProcess2"/>
    <dgm:cxn modelId="{E4FFBA21-9EA8-4F50-B1AF-6DC6629C4050}" type="presParOf" srcId="{952BA840-E212-4BBA-A739-0C30F7D51212}" destId="{35C1A440-9791-45B0-89C9-08498A069A7D}" srcOrd="1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Unit Testing</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Test Coverage</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Acceptance Testing</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Code Quality Metric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Notifications</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Documentation</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40AFFA6E-9CC5-4E79-A218-F84DE7A9D14C}">
      <dgm:prSet phldrT="[Text]"/>
      <dgm:spPr/>
      <dgm:t>
        <a:bodyPr/>
        <a:lstStyle/>
        <a:p>
          <a:r>
            <a:rPr lang="en-US" b="1" dirty="0" smtClean="0"/>
            <a:t>Deployments</a:t>
          </a:r>
          <a:endParaRPr lang="en-US" dirty="0"/>
        </a:p>
      </dgm:t>
    </dgm:pt>
    <dgm:pt modelId="{1239450D-D47F-4FD5-8AF0-23AA2430FCA1}" type="parTrans" cxnId="{47390FBC-F864-4007-8A87-817D2DAE59B3}">
      <dgm:prSet/>
      <dgm:spPr/>
      <dgm:t>
        <a:bodyPr/>
        <a:lstStyle/>
        <a:p>
          <a:endParaRPr lang="en-US"/>
        </a:p>
      </dgm:t>
    </dgm:pt>
    <dgm:pt modelId="{94F94ACE-8658-4A20-AA47-5710DADBC4C0}" type="sibTrans" cxnId="{47390FBC-F864-4007-8A87-817D2DAE59B3}">
      <dgm:prSet/>
      <dgm:spPr/>
      <dgm:t>
        <a:bodyPr/>
        <a:lstStyle/>
        <a:p>
          <a:endParaRPr lang="en-US"/>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7"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7"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7"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7"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7"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7" custLinFactY="-103510" custLinFactNeighborY="-200000">
        <dgm:presLayoutVars>
          <dgm:bulletEnabled val="1"/>
        </dgm:presLayoutVars>
      </dgm:prSet>
      <dgm:spPr/>
      <dgm:t>
        <a:bodyPr/>
        <a:lstStyle/>
        <a:p>
          <a:endParaRPr lang="en-US"/>
        </a:p>
      </dgm:t>
    </dgm:pt>
    <dgm:pt modelId="{9CC119CA-D1E1-49A5-8196-50F3B5F24856}" type="pres">
      <dgm:prSet presAssocID="{25F97770-9503-4C20-AAED-9B0BD233E979}" presName="aSpace2" presStyleCnt="0"/>
      <dgm:spPr/>
    </dgm:pt>
    <dgm:pt modelId="{8C1F1BD7-B63A-4DF5-B872-B74749B692F8}" type="pres">
      <dgm:prSet presAssocID="{40AFFA6E-9CC5-4E79-A218-F84DE7A9D14C}" presName="childNode" presStyleLbl="node1" presStyleIdx="6" presStyleCnt="7"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D0DC9F75-281A-45FA-A315-15A31AD5F727}" type="presOf" srcId="{5567D415-EC93-4C2D-99E7-B2CBEB6A1CDA}" destId="{0EB0E548-E485-4EB9-B0C1-2F9E52C47E2F}" srcOrd="0" destOrd="0" presId="urn:microsoft.com/office/officeart/2005/8/layout/lProcess2"/>
    <dgm:cxn modelId="{CEA22C97-796E-41C6-BBB5-A74C11C1F834}" type="presOf" srcId="{40AFFA6E-9CC5-4E79-A218-F84DE7A9D14C}" destId="{8C1F1BD7-B63A-4DF5-B872-B74749B692F8}" srcOrd="0" destOrd="0" presId="urn:microsoft.com/office/officeart/2005/8/layout/lProcess2"/>
    <dgm:cxn modelId="{B561D21C-ADBF-42FF-A4A6-FCD2EEB49B52}" srcId="{0C1E61B3-512F-4FA7-BE9E-7D573BA3346F}" destId="{5567D415-EC93-4C2D-99E7-B2CBEB6A1CDA}" srcOrd="1" destOrd="0" parTransId="{71BC70DA-08AF-4FB2-8887-54CAA30F7AE6}" sibTransId="{32566FA6-1365-4C82-AB42-27A666DEA0C2}"/>
    <dgm:cxn modelId="{A974F38A-4AF9-427C-9881-B8E0320424A8}" srcId="{0C1E61B3-512F-4FA7-BE9E-7D573BA3346F}" destId="{25F97770-9503-4C20-AAED-9B0BD233E979}" srcOrd="5" destOrd="0" parTransId="{9B15B1A3-7BAF-406C-AE81-5A0A3403404F}" sibTransId="{2FB53F4C-9C0C-4A6A-81F1-9A613A57F5E8}"/>
    <dgm:cxn modelId="{598FB122-9651-450F-A12C-ADD4CFFB1BA4}" type="presOf" srcId="{2EED45D4-5BEE-4A76-AB0B-5267F693D98C}" destId="{759E5986-9C24-4689-8160-14522891BBD0}" srcOrd="0" destOrd="0" presId="urn:microsoft.com/office/officeart/2005/8/layout/lProcess2"/>
    <dgm:cxn modelId="{116216BF-6A93-4966-80EA-B5B4C1D2CF75}" type="presOf" srcId="{16EE8BBE-00A9-49D7-8067-0C6F2C908362}" destId="{99AC6874-402E-4103-9065-F8FDD2008E93}" srcOrd="0" destOrd="0" presId="urn:microsoft.com/office/officeart/2005/8/layout/lProcess2"/>
    <dgm:cxn modelId="{60F534A7-DCC6-4571-9EDF-BD52E3F751FD}" type="presOf" srcId="{2641E4EC-B094-4655-9A18-5AEA15ADA785}" destId="{39AC523B-E2B1-45A5-ADD0-CCFC848B699B}" srcOrd="0" destOrd="0" presId="urn:microsoft.com/office/officeart/2005/8/layout/lProcess2"/>
    <dgm:cxn modelId="{5304153E-D845-4D17-A4DF-3DF69A6543A0}" type="presOf" srcId="{25F97770-9503-4C20-AAED-9B0BD233E979}" destId="{35C1A440-9791-45B0-89C9-08498A069A7D}" srcOrd="0" destOrd="0" presId="urn:microsoft.com/office/officeart/2005/8/layout/lProcess2"/>
    <dgm:cxn modelId="{7ECEAB49-6B90-4A17-ADCA-22C4C76816BF}" srcId="{0C1E61B3-512F-4FA7-BE9E-7D573BA3346F}" destId="{3CA8017C-E9A4-400C-8D72-03889E2C1308}" srcOrd="0" destOrd="0" parTransId="{0D8A0C41-72B6-4DAF-85F3-220674C43478}" sibTransId="{EF1C5094-8747-45F7-847D-9736EF7319B5}"/>
    <dgm:cxn modelId="{2715D21F-4ACC-4CFA-99B0-E1CB9D9D1B9B}" srcId="{0C1E61B3-512F-4FA7-BE9E-7D573BA3346F}" destId="{2641E4EC-B094-4655-9A18-5AEA15ADA785}" srcOrd="3" destOrd="0" parTransId="{7E45DB5F-1004-4FE1-9558-3289371F5412}" sibTransId="{D9E02321-27F0-4120-AAA6-912E98921178}"/>
    <dgm:cxn modelId="{6B52BCCB-D628-44DE-A95D-5D478D48B674}" srcId="{0C1E61B3-512F-4FA7-BE9E-7D573BA3346F}" destId="{92C4C8A5-71F8-40AF-9C49-82264E856E8E}" srcOrd="4" destOrd="0" parTransId="{FFD49C86-F581-4839-9CBB-4A9DEF1636DD}" sibTransId="{1923168E-82F0-47D8-A86C-A5341809FCE0}"/>
    <dgm:cxn modelId="{C83DFD83-F433-4E05-BF0B-331C2E64EBB5}" type="presOf" srcId="{0C1E61B3-512F-4FA7-BE9E-7D573BA3346F}" destId="{F9E3D432-0143-4025-A76F-3CB86178DA77}" srcOrd="1"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47390FBC-F864-4007-8A87-817D2DAE59B3}" srcId="{0C1E61B3-512F-4FA7-BE9E-7D573BA3346F}" destId="{40AFFA6E-9CC5-4E79-A218-F84DE7A9D14C}" srcOrd="6" destOrd="0" parTransId="{1239450D-D47F-4FD5-8AF0-23AA2430FCA1}" sibTransId="{94F94ACE-8658-4A20-AA47-5710DADBC4C0}"/>
    <dgm:cxn modelId="{3A1ED9D2-D8A7-4B36-A8FD-7716C0699F64}" type="presOf" srcId="{92C4C8A5-71F8-40AF-9C49-82264E856E8E}" destId="{D40E1E8F-8AD2-43DF-8483-2BC97B0A2D3C}" srcOrd="0" destOrd="0" presId="urn:microsoft.com/office/officeart/2005/8/layout/lProcess2"/>
    <dgm:cxn modelId="{F257FE19-FD70-4C3F-91DE-931255FCAD45}" type="presOf" srcId="{3CA8017C-E9A4-400C-8D72-03889E2C1308}" destId="{CB6CB1F1-E92A-46B9-B48E-4DC50F16CB38}" srcOrd="0" destOrd="0" presId="urn:microsoft.com/office/officeart/2005/8/layout/lProcess2"/>
    <dgm:cxn modelId="{7F759849-231D-4FA5-B8C2-2EE45BDF2719}" type="presOf" srcId="{0C1E61B3-512F-4FA7-BE9E-7D573BA3346F}" destId="{333EADA3-C7A8-4C3E-87BD-7CD8DA87C54F}" srcOrd="0" destOrd="0" presId="urn:microsoft.com/office/officeart/2005/8/layout/lProcess2"/>
    <dgm:cxn modelId="{2FD7317A-3E01-4F65-AC86-06D4445D5643}" type="presParOf" srcId="{759E5986-9C24-4689-8160-14522891BBD0}" destId="{97E536D2-0881-410A-8C69-551C86E905EA}" srcOrd="0" destOrd="0" presId="urn:microsoft.com/office/officeart/2005/8/layout/lProcess2"/>
    <dgm:cxn modelId="{3AF95958-1BA6-4D3C-A80E-C597846EA2D7}" type="presParOf" srcId="{97E536D2-0881-410A-8C69-551C86E905EA}" destId="{333EADA3-C7A8-4C3E-87BD-7CD8DA87C54F}" srcOrd="0" destOrd="0" presId="urn:microsoft.com/office/officeart/2005/8/layout/lProcess2"/>
    <dgm:cxn modelId="{E81EE3F1-C18D-4E1D-AC17-009A5E65B6B5}" type="presParOf" srcId="{97E536D2-0881-410A-8C69-551C86E905EA}" destId="{F9E3D432-0143-4025-A76F-3CB86178DA77}" srcOrd="1" destOrd="0" presId="urn:microsoft.com/office/officeart/2005/8/layout/lProcess2"/>
    <dgm:cxn modelId="{65CBAF15-2510-498B-A3E6-C67DDE885AA1}" type="presParOf" srcId="{97E536D2-0881-410A-8C69-551C86E905EA}" destId="{AEA74385-A66E-4B57-8FEE-E0254E5064FF}" srcOrd="2" destOrd="0" presId="urn:microsoft.com/office/officeart/2005/8/layout/lProcess2"/>
    <dgm:cxn modelId="{04707EE8-12A7-48A2-9952-BF06AAB43211}" type="presParOf" srcId="{AEA74385-A66E-4B57-8FEE-E0254E5064FF}" destId="{952BA840-E212-4BBA-A739-0C30F7D51212}" srcOrd="0" destOrd="0" presId="urn:microsoft.com/office/officeart/2005/8/layout/lProcess2"/>
    <dgm:cxn modelId="{5CD80776-A110-49A8-8F5A-D69445C08758}" type="presParOf" srcId="{952BA840-E212-4BBA-A739-0C30F7D51212}" destId="{CB6CB1F1-E92A-46B9-B48E-4DC50F16CB38}" srcOrd="0" destOrd="0" presId="urn:microsoft.com/office/officeart/2005/8/layout/lProcess2"/>
    <dgm:cxn modelId="{6E77E3E8-0108-4352-8F5F-0EE2A45D9B7E}" type="presParOf" srcId="{952BA840-E212-4BBA-A739-0C30F7D51212}" destId="{45F87BDC-58AD-47DB-8B61-4F95BBED7A42}" srcOrd="1" destOrd="0" presId="urn:microsoft.com/office/officeart/2005/8/layout/lProcess2"/>
    <dgm:cxn modelId="{53FEBAAA-A8A9-4E96-96FF-1B12D977E8A4}" type="presParOf" srcId="{952BA840-E212-4BBA-A739-0C30F7D51212}" destId="{0EB0E548-E485-4EB9-B0C1-2F9E52C47E2F}" srcOrd="2" destOrd="0" presId="urn:microsoft.com/office/officeart/2005/8/layout/lProcess2"/>
    <dgm:cxn modelId="{37E98F14-B698-4598-B2DC-68F404C1C9FE}" type="presParOf" srcId="{952BA840-E212-4BBA-A739-0C30F7D51212}" destId="{BA37282D-1197-4938-AA2C-F9DD1F9ACCC1}" srcOrd="3" destOrd="0" presId="urn:microsoft.com/office/officeart/2005/8/layout/lProcess2"/>
    <dgm:cxn modelId="{DF24129D-710E-4AE2-81DB-A1A274F48E5A}" type="presParOf" srcId="{952BA840-E212-4BBA-A739-0C30F7D51212}" destId="{99AC6874-402E-4103-9065-F8FDD2008E93}" srcOrd="4" destOrd="0" presId="urn:microsoft.com/office/officeart/2005/8/layout/lProcess2"/>
    <dgm:cxn modelId="{0759F0B1-3FD6-4905-98EB-D8D433AE12AA}" type="presParOf" srcId="{952BA840-E212-4BBA-A739-0C30F7D51212}" destId="{5F6E02C2-D6EB-4664-8D34-876B6DDA9650}" srcOrd="5" destOrd="0" presId="urn:microsoft.com/office/officeart/2005/8/layout/lProcess2"/>
    <dgm:cxn modelId="{182674AF-2DDF-4A85-B87E-60CFE24A451A}" type="presParOf" srcId="{952BA840-E212-4BBA-A739-0C30F7D51212}" destId="{39AC523B-E2B1-45A5-ADD0-CCFC848B699B}" srcOrd="6" destOrd="0" presId="urn:microsoft.com/office/officeart/2005/8/layout/lProcess2"/>
    <dgm:cxn modelId="{555A34DD-807F-4389-A829-84D777504A37}" type="presParOf" srcId="{952BA840-E212-4BBA-A739-0C30F7D51212}" destId="{4480707F-A5D0-4E86-9A9C-CE3E10F11BAF}" srcOrd="7" destOrd="0" presId="urn:microsoft.com/office/officeart/2005/8/layout/lProcess2"/>
    <dgm:cxn modelId="{31A07847-1B9D-4D20-B0B6-3F29F6C4FE9F}" type="presParOf" srcId="{952BA840-E212-4BBA-A739-0C30F7D51212}" destId="{D40E1E8F-8AD2-43DF-8483-2BC97B0A2D3C}" srcOrd="8" destOrd="0" presId="urn:microsoft.com/office/officeart/2005/8/layout/lProcess2"/>
    <dgm:cxn modelId="{7626CAA8-D8CB-46B7-8AA2-0097B68A9FC0}" type="presParOf" srcId="{952BA840-E212-4BBA-A739-0C30F7D51212}" destId="{F86F42A0-C411-4808-95D7-3744B2782132}" srcOrd="9" destOrd="0" presId="urn:microsoft.com/office/officeart/2005/8/layout/lProcess2"/>
    <dgm:cxn modelId="{725C8D25-79E3-476A-847D-03F0014CB108}" type="presParOf" srcId="{952BA840-E212-4BBA-A739-0C30F7D51212}" destId="{35C1A440-9791-45B0-89C9-08498A069A7D}" srcOrd="10" destOrd="0" presId="urn:microsoft.com/office/officeart/2005/8/layout/lProcess2"/>
    <dgm:cxn modelId="{F60F2A0A-050A-4732-8C7C-BB5A1A77993D}" type="presParOf" srcId="{952BA840-E212-4BBA-A739-0C30F7D51212}" destId="{9CC119CA-D1E1-49A5-8196-50F3B5F24856}" srcOrd="11" destOrd="0" presId="urn:microsoft.com/office/officeart/2005/8/layout/lProcess2"/>
    <dgm:cxn modelId="{A0D07C22-CF36-4287-AD34-A0C72D8B6956}" type="presParOf" srcId="{952BA840-E212-4BBA-A739-0C30F7D51212}" destId="{8C1F1BD7-B63A-4DF5-B872-B74749B692F8}" srcOrd="12"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EF4595A-C8FA-4C7E-A98C-563B56353276}" type="doc">
      <dgm:prSet loTypeId="urn:microsoft.com/office/officeart/2005/8/layout/vList4#7"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Depends on source code being buil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A741696C-0197-4982-A3F8-5D6435207763}">
      <dgm:prSet custT="1"/>
      <dgm:spPr/>
      <dgm:t>
        <a:bodyPr/>
        <a:lstStyle/>
        <a:p>
          <a:r>
            <a:rPr lang="en-US" sz="2000" b="1" dirty="0" smtClean="0"/>
            <a:t>Never let them fail </a:t>
          </a:r>
          <a:endParaRPr lang="en-US" sz="2000" b="1" dirty="0"/>
        </a:p>
      </dgm:t>
    </dgm:pt>
    <dgm:pt modelId="{2DAD63F9-5AD4-4F1F-AFC2-09D95BB411C0}" type="parTrans" cxnId="{1BBF6327-33DD-468C-A7D6-1A117C805B7F}">
      <dgm:prSet/>
      <dgm:spPr/>
      <dgm:t>
        <a:bodyPr/>
        <a:lstStyle/>
        <a:p>
          <a:endParaRPr lang="en-US"/>
        </a:p>
      </dgm:t>
    </dgm:pt>
    <dgm:pt modelId="{4778CD07-03D5-4580-8A56-8D6EDCCCB062}" type="sibTrans" cxnId="{1BBF6327-33DD-468C-A7D6-1A117C805B7F}">
      <dgm:prSet/>
      <dgm:spPr/>
      <dgm:t>
        <a:bodyPr/>
        <a:lstStyle/>
        <a:p>
          <a:endParaRPr lang="en-US"/>
        </a:p>
      </dgm:t>
    </dgm:pt>
    <dgm:pt modelId="{FF01ECF9-CF9B-4581-81C8-C9D7D1BFA577}">
      <dgm:prSet custT="1"/>
      <dgm:spPr/>
      <dgm:t>
        <a:bodyPr/>
        <a:lstStyle/>
        <a:p>
          <a:r>
            <a:rPr lang="en-US" sz="2000" b="1" dirty="0" smtClean="0"/>
            <a:t>Keep them unit size </a:t>
          </a:r>
          <a:endParaRPr lang="en-US" sz="2000" b="1" dirty="0"/>
        </a:p>
      </dgm:t>
    </dgm:pt>
    <dgm:pt modelId="{21B97CF1-0735-4F7A-9028-32231C8FCF9B}" type="parTrans" cxnId="{4709F2AA-065A-4E5B-90B3-F6748659A2AC}">
      <dgm:prSet/>
      <dgm:spPr/>
      <dgm:t>
        <a:bodyPr/>
        <a:lstStyle/>
        <a:p>
          <a:endParaRPr lang="en-US"/>
        </a:p>
      </dgm:t>
    </dgm:pt>
    <dgm:pt modelId="{86FC5063-D748-4B00-9601-DFB4756EAA0C}" type="sibTrans" cxnId="{4709F2AA-065A-4E5B-90B3-F6748659A2AC}">
      <dgm:prSet/>
      <dgm:spPr/>
      <dgm:t>
        <a:bodyPr/>
        <a:lstStyle/>
        <a:p>
          <a:endParaRPr lang="en-US"/>
        </a:p>
      </dgm:t>
    </dgm:pt>
    <dgm:pt modelId="{60C3686A-38C9-4147-AD6F-8AB31BDE1BD1}">
      <dgm:prSet custT="1"/>
      <dgm:spPr/>
      <dgm:t>
        <a:bodyPr/>
        <a:lstStyle/>
        <a:p>
          <a:r>
            <a:rPr lang="en-US" sz="2000" b="1" dirty="0" smtClean="0"/>
            <a:t>Keep them short </a:t>
          </a:r>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1BBF6327-33DD-468C-A7D6-1A117C805B7F}" srcId="{CA6C6C63-F70D-4465-BEBE-4E672C168216}" destId="{A741696C-0197-4982-A3F8-5D6435207763}" srcOrd="1" destOrd="0" parTransId="{2DAD63F9-5AD4-4F1F-AFC2-09D95BB411C0}" sibTransId="{4778CD07-03D5-4580-8A56-8D6EDCCCB062}"/>
    <dgm:cxn modelId="{A4857E38-C710-42EE-8CCA-60DFC073CF51}" type="presOf" srcId="{FF01ECF9-CF9B-4581-81C8-C9D7D1BFA577}" destId="{EF34F95F-9900-455C-97AA-FDAB3AE3AEBE}" srcOrd="1" destOrd="3" presId="urn:microsoft.com/office/officeart/2005/8/layout/vList4#7"/>
    <dgm:cxn modelId="{B259DDEA-8DFA-4297-B0FC-BB27044A855B}" type="presOf" srcId="{A741696C-0197-4982-A3F8-5D6435207763}" destId="{35983E14-7093-4298-B30D-8695D71E82FC}" srcOrd="0" destOrd="2" presId="urn:microsoft.com/office/officeart/2005/8/layout/vList4#7"/>
    <dgm:cxn modelId="{4709F2AA-065A-4E5B-90B3-F6748659A2AC}" srcId="{CA6C6C63-F70D-4465-BEBE-4E672C168216}" destId="{FF01ECF9-CF9B-4581-81C8-C9D7D1BFA577}" srcOrd="2" destOrd="0" parTransId="{21B97CF1-0735-4F7A-9028-32231C8FCF9B}" sibTransId="{86FC5063-D748-4B00-9601-DFB4756EAA0C}"/>
    <dgm:cxn modelId="{1603A9AE-63CC-4ED2-9099-7F3CD6D691DA}" type="presOf" srcId="{FF01ECF9-CF9B-4581-81C8-C9D7D1BFA577}" destId="{35983E14-7093-4298-B30D-8695D71E82FC}" srcOrd="0" destOrd="3" presId="urn:microsoft.com/office/officeart/2005/8/layout/vList4#7"/>
    <dgm:cxn modelId="{550288BC-A313-41D6-BCF6-31364FEE191B}" type="presOf" srcId="{CA6C6C63-F70D-4465-BEBE-4E672C168216}" destId="{35983E14-7093-4298-B30D-8695D71E82FC}" srcOrd="0" destOrd="0" presId="urn:microsoft.com/office/officeart/2005/8/layout/vList4#7"/>
    <dgm:cxn modelId="{1C0B71FD-9CFA-4F03-A8B5-C7E027C82C21}" type="presOf" srcId="{60C3686A-38C9-4147-AD6F-8AB31BDE1BD1}" destId="{EF34F95F-9900-455C-97AA-FDAB3AE3AEBE}" srcOrd="1" destOrd="4" presId="urn:microsoft.com/office/officeart/2005/8/layout/vList4#7"/>
    <dgm:cxn modelId="{D1CF3FD9-188E-4D71-8DF7-42063E9EB4EC}" type="presOf" srcId="{CA6C6C63-F70D-4465-BEBE-4E672C168216}" destId="{EF34F95F-9900-455C-97AA-FDAB3AE3AEBE}" srcOrd="1" destOrd="0" presId="urn:microsoft.com/office/officeart/2005/8/layout/vList4#7"/>
    <dgm:cxn modelId="{CC5AEEDD-F523-4B58-BEAF-24FFCFB24FA5}" type="presOf" srcId="{A741696C-0197-4982-A3F8-5D6435207763}" destId="{EF34F95F-9900-455C-97AA-FDAB3AE3AEBE}" srcOrd="1" destOrd="2" presId="urn:microsoft.com/office/officeart/2005/8/layout/vList4#7"/>
    <dgm:cxn modelId="{FF2E1924-9F78-4010-865F-7C5A675FEC64}" type="presOf" srcId="{66D774DF-A322-41BA-A7ED-373E1462C439}" destId="{EF34F95F-9900-455C-97AA-FDAB3AE3AEBE}" srcOrd="1" destOrd="1" presId="urn:microsoft.com/office/officeart/2005/8/layout/vList4#7"/>
    <dgm:cxn modelId="{D3D2C970-E06A-4ED9-B654-7DBC23B30C4F}" type="presOf" srcId="{AEF4595A-C8FA-4C7E-A98C-563B56353276}" destId="{1CECF0B1-CF70-4767-95E8-CF1381FBE634}" srcOrd="0" destOrd="0" presId="urn:microsoft.com/office/officeart/2005/8/layout/vList4#7"/>
    <dgm:cxn modelId="{5DE24D96-B010-4711-A15E-1331821E8481}" type="presOf" srcId="{60C3686A-38C9-4147-AD6F-8AB31BDE1BD1}" destId="{35983E14-7093-4298-B30D-8695D71E82FC}" srcOrd="0" destOrd="4" presId="urn:microsoft.com/office/officeart/2005/8/layout/vList4#7"/>
    <dgm:cxn modelId="{290A2736-F57E-450C-8700-E0533383ED6F}" srcId="{CA6C6C63-F70D-4465-BEBE-4E672C168216}" destId="{60C3686A-38C9-4147-AD6F-8AB31BDE1BD1}" srcOrd="3" destOrd="0" parTransId="{DDCB8B1F-094C-43F9-A014-22A555586A2D}" sibTransId="{476E433F-719B-4490-9116-8DE59697295D}"/>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93434B6E-E60C-48C3-9F43-B4DDF321B4EB}" type="presOf" srcId="{66D774DF-A322-41BA-A7ED-373E1462C439}" destId="{35983E14-7093-4298-B30D-8695D71E82FC}" srcOrd="0" destOrd="1" presId="urn:microsoft.com/office/officeart/2005/8/layout/vList4#7"/>
    <dgm:cxn modelId="{A29181A4-F266-4711-944A-FF15778FE1A4}" type="presParOf" srcId="{1CECF0B1-CF70-4767-95E8-CF1381FBE634}" destId="{2EFE87F4-CF86-40A7-A95F-D5779B6A6492}" srcOrd="0" destOrd="0" presId="urn:microsoft.com/office/officeart/2005/8/layout/vList4#7"/>
    <dgm:cxn modelId="{5CC97B96-DBFA-4707-99FF-E0A59B923A67}" type="presParOf" srcId="{2EFE87F4-CF86-40A7-A95F-D5779B6A6492}" destId="{35983E14-7093-4298-B30D-8695D71E82FC}" srcOrd="0" destOrd="0" presId="urn:microsoft.com/office/officeart/2005/8/layout/vList4#7"/>
    <dgm:cxn modelId="{82BF32A6-D62B-4198-9DAA-4D040F82C507}" type="presParOf" srcId="{2EFE87F4-CF86-40A7-A95F-D5779B6A6492}" destId="{6DB07FC2-DB01-4F82-BC07-F35E7051AECE}" srcOrd="1" destOrd="0" presId="urn:microsoft.com/office/officeart/2005/8/layout/vList4#7"/>
    <dgm:cxn modelId="{E4E89802-E75D-47D9-90C1-4133B7425F63}" type="presParOf" srcId="{2EFE87F4-CF86-40A7-A95F-D5779B6A6492}" destId="{EF34F95F-9900-455C-97AA-FDAB3AE3AEBE}" srcOrd="2" destOrd="0" presId="urn:microsoft.com/office/officeart/2005/8/layout/vList4#7"/>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EF4595A-C8FA-4C7E-A98C-563B56353276}" type="doc">
      <dgm:prSet loTypeId="urn:microsoft.com/office/officeart/2005/8/layout/vList4#8"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verage doesn’t mean quality!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026897DA-FA2E-4E0C-A959-57B410D22CFA}">
      <dgm:prSet custT="1"/>
      <dgm:spPr/>
      <dgm:t>
        <a:bodyPr/>
        <a:lstStyle/>
        <a:p>
          <a:r>
            <a:rPr lang="en-US" sz="2000" b="1" dirty="0" smtClean="0"/>
            <a:t>Perhaps fail the build.</a:t>
          </a:r>
          <a:endParaRPr lang="en-US" sz="2000" dirty="0"/>
        </a:p>
      </dgm:t>
    </dgm:pt>
    <dgm:pt modelId="{F592FDBB-2CAF-4B95-B6C3-ABB51F33568A}" type="parTrans" cxnId="{C914477F-CC04-4A82-A3E1-C37DF0256FCE}">
      <dgm:prSet/>
      <dgm:spPr/>
      <dgm:t>
        <a:bodyPr/>
        <a:lstStyle/>
        <a:p>
          <a:endParaRPr lang="en-US" sz="2000"/>
        </a:p>
      </dgm:t>
    </dgm:pt>
    <dgm:pt modelId="{CD5F382D-1354-48DE-A1BA-F9F5F6CE390F}" type="sibTrans" cxnId="{C914477F-CC04-4A82-A3E1-C37DF0256FCE}">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C914477F-CC04-4A82-A3E1-C37DF0256FCE}" srcId="{CA6C6C63-F70D-4465-BEBE-4E672C168216}" destId="{026897DA-FA2E-4E0C-A959-57B410D22CFA}" srcOrd="1" destOrd="0" parTransId="{F592FDBB-2CAF-4B95-B6C3-ABB51F33568A}" sibTransId="{CD5F382D-1354-48DE-A1BA-F9F5F6CE390F}"/>
    <dgm:cxn modelId="{37F6C282-DFCC-4D30-95D2-EDA4CF5897BA}" type="presOf" srcId="{026897DA-FA2E-4E0C-A959-57B410D22CFA}" destId="{35983E14-7093-4298-B30D-8695D71E82FC}" srcOrd="0" destOrd="2" presId="urn:microsoft.com/office/officeart/2005/8/layout/vList4#8"/>
    <dgm:cxn modelId="{B738049D-E191-471D-9AC4-0A1E02E9946C}" type="presOf" srcId="{026897DA-FA2E-4E0C-A959-57B410D22CFA}" destId="{EF34F95F-9900-455C-97AA-FDAB3AE3AEBE}" srcOrd="1" destOrd="2" presId="urn:microsoft.com/office/officeart/2005/8/layout/vList4#8"/>
    <dgm:cxn modelId="{D4E79652-C498-432F-8D06-DB793DDCE437}" type="presOf" srcId="{66D774DF-A322-41BA-A7ED-373E1462C439}" destId="{35983E14-7093-4298-B30D-8695D71E82FC}" srcOrd="0" destOrd="1" presId="urn:microsoft.com/office/officeart/2005/8/layout/vList4#8"/>
    <dgm:cxn modelId="{FA5AA77B-758F-4F25-9814-9F13A480E558}" type="presOf" srcId="{AEF4595A-C8FA-4C7E-A98C-563B56353276}" destId="{1CECF0B1-CF70-4767-95E8-CF1381FBE634}" srcOrd="0" destOrd="0" presId="urn:microsoft.com/office/officeart/2005/8/layout/vList4#8"/>
    <dgm:cxn modelId="{984E0786-FEA8-4584-A0AE-25A34D4F00BE}" srcId="{AEF4595A-C8FA-4C7E-A98C-563B56353276}" destId="{CA6C6C63-F70D-4465-BEBE-4E672C168216}" srcOrd="0" destOrd="0" parTransId="{3306D787-9F20-4D6D-9851-20FA0AF0D530}" sibTransId="{732BFF71-4FFD-438D-BEC1-AD49BF197A37}"/>
    <dgm:cxn modelId="{36A69E2E-52C5-4CDA-B02B-4FB7246CF7C5}" type="presOf" srcId="{CA6C6C63-F70D-4465-BEBE-4E672C168216}" destId="{EF34F95F-9900-455C-97AA-FDAB3AE3AEBE}" srcOrd="1" destOrd="0" presId="urn:microsoft.com/office/officeart/2005/8/layout/vList4#8"/>
    <dgm:cxn modelId="{5B16E460-6E2F-44AB-A7F2-3A7B12107B0A}" srcId="{CA6C6C63-F70D-4465-BEBE-4E672C168216}" destId="{66D774DF-A322-41BA-A7ED-373E1462C439}" srcOrd="0" destOrd="0" parTransId="{7118CDC3-D838-45EB-928A-E5403CEA1F38}" sibTransId="{73A6B20E-78C5-4D31-97FC-08B2D6BC8BB1}"/>
    <dgm:cxn modelId="{8A1DEE11-C386-4024-BDF3-198A7BCF7D4D}" type="presOf" srcId="{66D774DF-A322-41BA-A7ED-373E1462C439}" destId="{EF34F95F-9900-455C-97AA-FDAB3AE3AEBE}" srcOrd="1" destOrd="1" presId="urn:microsoft.com/office/officeart/2005/8/layout/vList4#8"/>
    <dgm:cxn modelId="{6CC8609E-9F37-4950-A358-708B4088A288}" type="presOf" srcId="{CA6C6C63-F70D-4465-BEBE-4E672C168216}" destId="{35983E14-7093-4298-B30D-8695D71E82FC}" srcOrd="0" destOrd="0" presId="urn:microsoft.com/office/officeart/2005/8/layout/vList4#8"/>
    <dgm:cxn modelId="{D7D4E009-04B1-4F94-8AAD-EE75CB2607B3}" type="presParOf" srcId="{1CECF0B1-CF70-4767-95E8-CF1381FBE634}" destId="{2EFE87F4-CF86-40A7-A95F-D5779B6A6492}" srcOrd="0" destOrd="0" presId="urn:microsoft.com/office/officeart/2005/8/layout/vList4#8"/>
    <dgm:cxn modelId="{AC0CC8E3-4DB2-4C19-BEE2-C1C55E972B07}" type="presParOf" srcId="{2EFE87F4-CF86-40A7-A95F-D5779B6A6492}" destId="{35983E14-7093-4298-B30D-8695D71E82FC}" srcOrd="0" destOrd="0" presId="urn:microsoft.com/office/officeart/2005/8/layout/vList4#8"/>
    <dgm:cxn modelId="{10E609FA-D758-4CC2-BB4A-B6C785654657}" type="presParOf" srcId="{2EFE87F4-CF86-40A7-A95F-D5779B6A6492}" destId="{6DB07FC2-DB01-4F82-BC07-F35E7051AECE}" srcOrd="1" destOrd="0" presId="urn:microsoft.com/office/officeart/2005/8/layout/vList4#8"/>
    <dgm:cxn modelId="{78359CEF-99A4-4E85-8227-98EA35676769}" type="presParOf" srcId="{2EFE87F4-CF86-40A7-A95F-D5779B6A6492}" destId="{EF34F95F-9900-455C-97AA-FDAB3AE3AEBE}" srcOrd="2" destOrd="0" presId="urn:microsoft.com/office/officeart/2005/8/layout/vList4#8"/>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2A8F2F1-B08D-441F-AB28-EC4F813C82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A6E2F41-FAC4-4566-AC1D-3A4A90D96F12}">
      <dgm:prSet phldrT="[Text]" custT="1"/>
      <dgm:spPr/>
      <dgm:t>
        <a:bodyPr/>
        <a:lstStyle/>
        <a:p>
          <a:r>
            <a:rPr lang="en-US" sz="1800" b="1" dirty="0" smtClean="0"/>
            <a:t>Can be slow.</a:t>
          </a:r>
          <a:endParaRPr lang="en-US" sz="1800" dirty="0"/>
        </a:p>
      </dgm:t>
    </dgm:pt>
    <dgm:pt modelId="{E8AEC6DA-C074-413C-B62B-0116236D80DE}" type="parTrans" cxnId="{0327B155-5CC6-4E39-A249-4183E8928E89}">
      <dgm:prSet/>
      <dgm:spPr/>
      <dgm:t>
        <a:bodyPr/>
        <a:lstStyle/>
        <a:p>
          <a:endParaRPr lang="en-US" sz="1800"/>
        </a:p>
      </dgm:t>
    </dgm:pt>
    <dgm:pt modelId="{F99F95D5-9599-434C-85E0-09C1C233F92F}" type="sibTrans" cxnId="{0327B155-5CC6-4E39-A249-4183E8928E89}">
      <dgm:prSet/>
      <dgm:spPr/>
      <dgm:t>
        <a:bodyPr/>
        <a:lstStyle/>
        <a:p>
          <a:endParaRPr lang="en-US" sz="1800"/>
        </a:p>
      </dgm:t>
    </dgm:pt>
    <dgm:pt modelId="{DB9C7844-C646-4890-9402-577933005A1A}">
      <dgm:prSet phldrT="[Text]" custT="1"/>
      <dgm:spPr/>
      <dgm:t>
        <a:bodyPr/>
        <a:lstStyle/>
        <a:p>
          <a:r>
            <a:rPr lang="en-US" sz="1800" b="1" dirty="0" smtClean="0"/>
            <a:t>Takes serious effort.</a:t>
          </a:r>
          <a:endParaRPr lang="en-US" sz="1800" dirty="0"/>
        </a:p>
      </dgm:t>
    </dgm:pt>
    <dgm:pt modelId="{5447B716-9319-470F-AB3E-9FC6EE1B7498}" type="parTrans" cxnId="{00C8C9F8-2CEB-4859-86D8-BE71EFF0E075}">
      <dgm:prSet/>
      <dgm:spPr/>
      <dgm:t>
        <a:bodyPr/>
        <a:lstStyle/>
        <a:p>
          <a:endParaRPr lang="en-US" sz="1800"/>
        </a:p>
      </dgm:t>
    </dgm:pt>
    <dgm:pt modelId="{857A16AA-7E9D-4C58-A979-77D5475ACE40}" type="sibTrans" cxnId="{00C8C9F8-2CEB-4859-86D8-BE71EFF0E075}">
      <dgm:prSet/>
      <dgm:spPr/>
      <dgm:t>
        <a:bodyPr/>
        <a:lstStyle/>
        <a:p>
          <a:endParaRPr lang="en-US" sz="1800"/>
        </a:p>
      </dgm:t>
    </dgm:pt>
    <dgm:pt modelId="{744CBC10-9471-42A8-9D51-1BEC66E3CBE1}">
      <dgm:prSet custT="1"/>
      <dgm:spPr/>
      <dgm:t>
        <a:bodyPr/>
        <a:lstStyle/>
        <a:p>
          <a:r>
            <a:rPr lang="en-US" sz="1800" b="1" dirty="0" smtClean="0"/>
            <a:t>http://simpleprogrammer.com/getting-up-to-bat-series/ </a:t>
          </a:r>
          <a:endParaRPr lang="en-US" sz="1800" b="1" dirty="0"/>
        </a:p>
      </dgm:t>
    </dgm:pt>
    <dgm:pt modelId="{4F0CC4BF-5C87-45BF-9A5E-CC1683C056BB}" type="parTrans" cxnId="{B4D5B01D-3E3F-4140-AE97-C1C7F8C1F588}">
      <dgm:prSet/>
      <dgm:spPr/>
      <dgm:t>
        <a:bodyPr/>
        <a:lstStyle/>
        <a:p>
          <a:endParaRPr lang="en-US" sz="1800"/>
        </a:p>
      </dgm:t>
    </dgm:pt>
    <dgm:pt modelId="{2D4B90FB-C293-4E62-9DDC-60F4A6876CA1}" type="sibTrans" cxnId="{B4D5B01D-3E3F-4140-AE97-C1C7F8C1F588}">
      <dgm:prSet/>
      <dgm:spPr/>
      <dgm:t>
        <a:bodyPr/>
        <a:lstStyle/>
        <a:p>
          <a:endParaRPr lang="en-US" sz="1800"/>
        </a:p>
      </dgm:t>
    </dgm:pt>
    <dgm:pt modelId="{BDC23527-52D2-4587-B42C-027C6B48AE3C}">
      <dgm:prSet phldrT="[Text]" custT="1"/>
      <dgm:spPr/>
      <dgm:t>
        <a:bodyPr/>
        <a:lstStyle/>
        <a:p>
          <a:r>
            <a:rPr lang="en-US" sz="1800" b="1" dirty="0" smtClean="0"/>
            <a:t>Blog series:</a:t>
          </a:r>
          <a:endParaRPr lang="en-US" sz="1800" b="1" dirty="0"/>
        </a:p>
      </dgm:t>
    </dgm:pt>
    <dgm:pt modelId="{06777FB1-A01C-4E44-83ED-224D4E26B9E3}" type="sibTrans" cxnId="{4D28F57B-9D02-4BB6-BBBB-3479DC72BC20}">
      <dgm:prSet/>
      <dgm:spPr/>
      <dgm:t>
        <a:bodyPr/>
        <a:lstStyle/>
        <a:p>
          <a:endParaRPr lang="en-US" sz="1800"/>
        </a:p>
      </dgm:t>
    </dgm:pt>
    <dgm:pt modelId="{D60E0CB4-C4AF-4753-882F-BDB299A139DB}" type="parTrans" cxnId="{4D28F57B-9D02-4BB6-BBBB-3479DC72BC20}">
      <dgm:prSet/>
      <dgm:spPr/>
      <dgm:t>
        <a:bodyPr/>
        <a:lstStyle/>
        <a:p>
          <a:endParaRPr lang="en-US" sz="1800"/>
        </a:p>
      </dgm:t>
    </dgm:pt>
    <dgm:pt modelId="{A6FA1D76-22FE-4268-8645-F0F8076CAACC}" type="pres">
      <dgm:prSet presAssocID="{52A8F2F1-B08D-441F-AB28-EC4F813C82EE}" presName="linear" presStyleCnt="0">
        <dgm:presLayoutVars>
          <dgm:animLvl val="lvl"/>
          <dgm:resizeHandles val="exact"/>
        </dgm:presLayoutVars>
      </dgm:prSet>
      <dgm:spPr/>
      <dgm:t>
        <a:bodyPr/>
        <a:lstStyle/>
        <a:p>
          <a:endParaRPr lang="en-US"/>
        </a:p>
      </dgm:t>
    </dgm:pt>
    <dgm:pt modelId="{67CCCA4C-59AB-4BC6-9199-F32F598F5529}" type="pres">
      <dgm:prSet presAssocID="{BA6E2F41-FAC4-4566-AC1D-3A4A90D96F12}" presName="parentText" presStyleLbl="node1" presStyleIdx="0" presStyleCnt="3">
        <dgm:presLayoutVars>
          <dgm:chMax val="0"/>
          <dgm:bulletEnabled val="1"/>
        </dgm:presLayoutVars>
      </dgm:prSet>
      <dgm:spPr/>
      <dgm:t>
        <a:bodyPr/>
        <a:lstStyle/>
        <a:p>
          <a:endParaRPr lang="en-US"/>
        </a:p>
      </dgm:t>
    </dgm:pt>
    <dgm:pt modelId="{F512F146-6F60-46BD-B550-62B178B433FE}" type="pres">
      <dgm:prSet presAssocID="{F99F95D5-9599-434C-85E0-09C1C233F92F}" presName="spacer" presStyleCnt="0"/>
      <dgm:spPr/>
    </dgm:pt>
    <dgm:pt modelId="{9E9B2919-B761-4A74-8E54-8AEC3DF85B76}" type="pres">
      <dgm:prSet presAssocID="{DB9C7844-C646-4890-9402-577933005A1A}" presName="parentText" presStyleLbl="node1" presStyleIdx="1" presStyleCnt="3">
        <dgm:presLayoutVars>
          <dgm:chMax val="0"/>
          <dgm:bulletEnabled val="1"/>
        </dgm:presLayoutVars>
      </dgm:prSet>
      <dgm:spPr/>
      <dgm:t>
        <a:bodyPr/>
        <a:lstStyle/>
        <a:p>
          <a:endParaRPr lang="en-US"/>
        </a:p>
      </dgm:t>
    </dgm:pt>
    <dgm:pt modelId="{5A13D6BE-090B-418D-80BB-C52737E8623C}" type="pres">
      <dgm:prSet presAssocID="{857A16AA-7E9D-4C58-A979-77D5475ACE40}" presName="spacer" presStyleCnt="0"/>
      <dgm:spPr/>
    </dgm:pt>
    <dgm:pt modelId="{5B496C04-7A0C-4D8B-8244-8575B4F9D288}" type="pres">
      <dgm:prSet presAssocID="{BDC23527-52D2-4587-B42C-027C6B48AE3C}" presName="parentText" presStyleLbl="node1" presStyleIdx="2" presStyleCnt="3">
        <dgm:presLayoutVars>
          <dgm:chMax val="0"/>
          <dgm:bulletEnabled val="1"/>
        </dgm:presLayoutVars>
      </dgm:prSet>
      <dgm:spPr/>
      <dgm:t>
        <a:bodyPr/>
        <a:lstStyle/>
        <a:p>
          <a:endParaRPr lang="en-US"/>
        </a:p>
      </dgm:t>
    </dgm:pt>
    <dgm:pt modelId="{201EAAEF-B0B8-4851-9D09-70689594ED0F}" type="pres">
      <dgm:prSet presAssocID="{BDC23527-52D2-4587-B42C-027C6B48AE3C}" presName="childText" presStyleLbl="revTx" presStyleIdx="0" presStyleCnt="1" custLinFactNeighborY="6362">
        <dgm:presLayoutVars>
          <dgm:bulletEnabled val="1"/>
        </dgm:presLayoutVars>
      </dgm:prSet>
      <dgm:spPr/>
      <dgm:t>
        <a:bodyPr/>
        <a:lstStyle/>
        <a:p>
          <a:endParaRPr lang="en-US"/>
        </a:p>
      </dgm:t>
    </dgm:pt>
  </dgm:ptLst>
  <dgm:cxnLst>
    <dgm:cxn modelId="{7AA8A6FD-D074-4515-AE6C-F21CF479C23D}" type="presOf" srcId="{BA6E2F41-FAC4-4566-AC1D-3A4A90D96F12}" destId="{67CCCA4C-59AB-4BC6-9199-F32F598F5529}" srcOrd="0" destOrd="0" presId="urn:microsoft.com/office/officeart/2005/8/layout/vList2"/>
    <dgm:cxn modelId="{0327B155-5CC6-4E39-A249-4183E8928E89}" srcId="{52A8F2F1-B08D-441F-AB28-EC4F813C82EE}" destId="{BA6E2F41-FAC4-4566-AC1D-3A4A90D96F12}" srcOrd="0" destOrd="0" parTransId="{E8AEC6DA-C074-413C-B62B-0116236D80DE}" sibTransId="{F99F95D5-9599-434C-85E0-09C1C233F92F}"/>
    <dgm:cxn modelId="{00C8C9F8-2CEB-4859-86D8-BE71EFF0E075}" srcId="{52A8F2F1-B08D-441F-AB28-EC4F813C82EE}" destId="{DB9C7844-C646-4890-9402-577933005A1A}" srcOrd="1" destOrd="0" parTransId="{5447B716-9319-470F-AB3E-9FC6EE1B7498}" sibTransId="{857A16AA-7E9D-4C58-A979-77D5475ACE40}"/>
    <dgm:cxn modelId="{5D5A6D2A-F79D-426B-B218-48F4AFB82903}" type="presOf" srcId="{744CBC10-9471-42A8-9D51-1BEC66E3CBE1}" destId="{201EAAEF-B0B8-4851-9D09-70689594ED0F}" srcOrd="0" destOrd="0" presId="urn:microsoft.com/office/officeart/2005/8/layout/vList2"/>
    <dgm:cxn modelId="{B4D5B01D-3E3F-4140-AE97-C1C7F8C1F588}" srcId="{BDC23527-52D2-4587-B42C-027C6B48AE3C}" destId="{744CBC10-9471-42A8-9D51-1BEC66E3CBE1}" srcOrd="0" destOrd="0" parTransId="{4F0CC4BF-5C87-45BF-9A5E-CC1683C056BB}" sibTransId="{2D4B90FB-C293-4E62-9DDC-60F4A6876CA1}"/>
    <dgm:cxn modelId="{C050A293-C821-4FB0-B0B6-2E44DBAC7FBB}" type="presOf" srcId="{BDC23527-52D2-4587-B42C-027C6B48AE3C}" destId="{5B496C04-7A0C-4D8B-8244-8575B4F9D288}" srcOrd="0" destOrd="0" presId="urn:microsoft.com/office/officeart/2005/8/layout/vList2"/>
    <dgm:cxn modelId="{4D28F57B-9D02-4BB6-BBBB-3479DC72BC20}" srcId="{52A8F2F1-B08D-441F-AB28-EC4F813C82EE}" destId="{BDC23527-52D2-4587-B42C-027C6B48AE3C}" srcOrd="2" destOrd="0" parTransId="{D60E0CB4-C4AF-4753-882F-BDB299A139DB}" sibTransId="{06777FB1-A01C-4E44-83ED-224D4E26B9E3}"/>
    <dgm:cxn modelId="{FC00BC25-C2B5-415B-8694-BD37219CA743}" type="presOf" srcId="{DB9C7844-C646-4890-9402-577933005A1A}" destId="{9E9B2919-B761-4A74-8E54-8AEC3DF85B76}" srcOrd="0" destOrd="0" presId="urn:microsoft.com/office/officeart/2005/8/layout/vList2"/>
    <dgm:cxn modelId="{3B0B67D4-B683-4114-80CB-F787C36A3CC5}" type="presOf" srcId="{52A8F2F1-B08D-441F-AB28-EC4F813C82EE}" destId="{A6FA1D76-22FE-4268-8645-F0F8076CAACC}" srcOrd="0" destOrd="0" presId="urn:microsoft.com/office/officeart/2005/8/layout/vList2"/>
    <dgm:cxn modelId="{2760FF0A-CF62-406C-9490-2C4924CA596F}" type="presParOf" srcId="{A6FA1D76-22FE-4268-8645-F0F8076CAACC}" destId="{67CCCA4C-59AB-4BC6-9199-F32F598F5529}" srcOrd="0" destOrd="0" presId="urn:microsoft.com/office/officeart/2005/8/layout/vList2"/>
    <dgm:cxn modelId="{E4BE55B9-8871-4198-A186-5A162D767FAC}" type="presParOf" srcId="{A6FA1D76-22FE-4268-8645-F0F8076CAACC}" destId="{F512F146-6F60-46BD-B550-62B178B433FE}" srcOrd="1" destOrd="0" presId="urn:microsoft.com/office/officeart/2005/8/layout/vList2"/>
    <dgm:cxn modelId="{6491CD1B-37AB-493A-9272-DFCEF6E99BBC}" type="presParOf" srcId="{A6FA1D76-22FE-4268-8645-F0F8076CAACC}" destId="{9E9B2919-B761-4A74-8E54-8AEC3DF85B76}" srcOrd="2" destOrd="0" presId="urn:microsoft.com/office/officeart/2005/8/layout/vList2"/>
    <dgm:cxn modelId="{D80449E3-971D-4085-BE94-6E1F2E70B3AB}" type="presParOf" srcId="{A6FA1D76-22FE-4268-8645-F0F8076CAACC}" destId="{5A13D6BE-090B-418D-80BB-C52737E8623C}" srcOrd="3" destOrd="0" presId="urn:microsoft.com/office/officeart/2005/8/layout/vList2"/>
    <dgm:cxn modelId="{0B8C81A7-4AB1-4D22-9C98-301CA0836587}" type="presParOf" srcId="{A6FA1D76-22FE-4268-8645-F0F8076CAACC}" destId="{5B496C04-7A0C-4D8B-8244-8575B4F9D288}" srcOrd="4" destOrd="0" presId="urn:microsoft.com/office/officeart/2005/8/layout/vList2"/>
    <dgm:cxn modelId="{49244A2E-DFED-4760-AAD4-DD2A8469DBFE}" type="presParOf" srcId="{A6FA1D76-22FE-4268-8645-F0F8076CAACC}" destId="{201EAAEF-B0B8-4851-9D09-70689594ED0F}"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35A3D6A-3EFD-4A34-83D0-CCBA8FF51F85}"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176FEEE6-8A27-491C-8F63-332C4ABA2604}">
      <dgm:prSet phldrT="[Text]" custT="1"/>
      <dgm:spPr/>
      <dgm:t>
        <a:bodyPr/>
        <a:lstStyle/>
        <a:p>
          <a:r>
            <a:rPr lang="en-US" sz="2000" b="1" dirty="0" smtClean="0"/>
            <a:t>Static Analysis</a:t>
          </a:r>
          <a:endParaRPr lang="en-US" sz="2000" dirty="0"/>
        </a:p>
      </dgm:t>
    </dgm:pt>
    <dgm:pt modelId="{B57E4006-215A-465C-85C8-ECD9B053D14C}" type="parTrans" cxnId="{4EDE64BA-45A6-400B-B250-6398FDB3772E}">
      <dgm:prSet/>
      <dgm:spPr/>
      <dgm:t>
        <a:bodyPr/>
        <a:lstStyle/>
        <a:p>
          <a:endParaRPr lang="en-US" sz="2000"/>
        </a:p>
      </dgm:t>
    </dgm:pt>
    <dgm:pt modelId="{F78014C9-A68F-4265-9406-D4C8BEDA7402}" type="sibTrans" cxnId="{4EDE64BA-45A6-400B-B250-6398FDB3772E}">
      <dgm:prSet/>
      <dgm:spPr/>
      <dgm:t>
        <a:bodyPr/>
        <a:lstStyle/>
        <a:p>
          <a:endParaRPr lang="en-US" sz="2000"/>
        </a:p>
      </dgm:t>
    </dgm:pt>
    <dgm:pt modelId="{C80E7AF1-E10C-463C-8197-02E98D5C2CDA}">
      <dgm:prSet phldrT="[Text]" custT="1"/>
      <dgm:spPr/>
      <dgm:t>
        <a:bodyPr/>
        <a:lstStyle/>
        <a:p>
          <a:r>
            <a:rPr lang="en-US" sz="2000" b="1" dirty="0" smtClean="0"/>
            <a:t>Java Tools</a:t>
          </a:r>
          <a:endParaRPr lang="en-US" sz="2000" dirty="0"/>
        </a:p>
      </dgm:t>
    </dgm:pt>
    <dgm:pt modelId="{C2C2BBED-3778-4366-8B87-DB385C1FEF4E}" type="parTrans" cxnId="{F9DCCDAD-5D0B-4D79-8BAC-B726DED798CF}">
      <dgm:prSet/>
      <dgm:spPr/>
      <dgm:t>
        <a:bodyPr/>
        <a:lstStyle/>
        <a:p>
          <a:endParaRPr lang="en-US" sz="2000"/>
        </a:p>
      </dgm:t>
    </dgm:pt>
    <dgm:pt modelId="{918B55CE-027F-4F37-BBE0-AB3399FE515F}" type="sibTrans" cxnId="{F9DCCDAD-5D0B-4D79-8BAC-B726DED798CF}">
      <dgm:prSet/>
      <dgm:spPr/>
      <dgm:t>
        <a:bodyPr/>
        <a:lstStyle/>
        <a:p>
          <a:endParaRPr lang="en-US" sz="2000"/>
        </a:p>
      </dgm:t>
    </dgm:pt>
    <dgm:pt modelId="{95E731B0-BF8E-4A89-B3D1-111CCC8329AD}">
      <dgm:prSet phldrT="[Text]" custT="1"/>
      <dgm:spPr/>
      <dgm:t>
        <a:bodyPr/>
        <a:lstStyle/>
        <a:p>
          <a:r>
            <a:rPr lang="en-US" sz="2000" dirty="0" smtClean="0"/>
            <a:t>PMD </a:t>
          </a:r>
          <a:endParaRPr lang="en-US" sz="2000" dirty="0"/>
        </a:p>
      </dgm:t>
    </dgm:pt>
    <dgm:pt modelId="{C4B830BD-EB8F-491C-8EB4-041F0508E80D}" type="parTrans" cxnId="{3EB8C46F-E178-4ACD-90B0-ECBFAFBFE0EB}">
      <dgm:prSet/>
      <dgm:spPr/>
      <dgm:t>
        <a:bodyPr/>
        <a:lstStyle/>
        <a:p>
          <a:endParaRPr lang="en-US" sz="2000"/>
        </a:p>
      </dgm:t>
    </dgm:pt>
    <dgm:pt modelId="{6513929D-1E93-4A06-9D0A-BE43A7D2B781}" type="sibTrans" cxnId="{3EB8C46F-E178-4ACD-90B0-ECBFAFBFE0EB}">
      <dgm:prSet/>
      <dgm:spPr/>
      <dgm:t>
        <a:bodyPr/>
        <a:lstStyle/>
        <a:p>
          <a:endParaRPr lang="en-US" sz="2000"/>
        </a:p>
      </dgm:t>
    </dgm:pt>
    <dgm:pt modelId="{7976D08B-CD75-4BD5-99A1-8F88224AB9CC}">
      <dgm:prSet phldrT="[Text]" custT="1"/>
      <dgm:spPr/>
      <dgm:t>
        <a:bodyPr/>
        <a:lstStyle/>
        <a:p>
          <a:r>
            <a:rPr lang="en-US" sz="2000" b="1" dirty="0" smtClean="0"/>
            <a:t>.NET Tools</a:t>
          </a:r>
          <a:endParaRPr lang="en-US" sz="2000" dirty="0"/>
        </a:p>
      </dgm:t>
    </dgm:pt>
    <dgm:pt modelId="{1301C14F-16F2-486C-A12F-29C6AA34BCDA}" type="parTrans" cxnId="{2A38B7FB-BED2-4914-8D0C-6042EACC49AC}">
      <dgm:prSet/>
      <dgm:spPr/>
      <dgm:t>
        <a:bodyPr/>
        <a:lstStyle/>
        <a:p>
          <a:endParaRPr lang="en-US" sz="2000"/>
        </a:p>
      </dgm:t>
    </dgm:pt>
    <dgm:pt modelId="{DF2D842D-1280-4A98-97DC-CB4B03204123}" type="sibTrans" cxnId="{2A38B7FB-BED2-4914-8D0C-6042EACC49AC}">
      <dgm:prSet/>
      <dgm:spPr/>
      <dgm:t>
        <a:bodyPr/>
        <a:lstStyle/>
        <a:p>
          <a:endParaRPr lang="en-US" sz="2000"/>
        </a:p>
      </dgm:t>
    </dgm:pt>
    <dgm:pt modelId="{4C9C0FF1-AC8D-4705-A0A0-C0CB54C830A8}">
      <dgm:prSet phldrT="[Text]" custT="1"/>
      <dgm:spPr/>
      <dgm:t>
        <a:bodyPr/>
        <a:lstStyle/>
        <a:p>
          <a:r>
            <a:rPr lang="en-US" sz="2000" dirty="0" smtClean="0"/>
            <a:t>FxCop </a:t>
          </a:r>
          <a:endParaRPr lang="en-US" sz="2000" dirty="0"/>
        </a:p>
      </dgm:t>
    </dgm:pt>
    <dgm:pt modelId="{E6D637D8-94F7-4769-91F1-990022CE84C9}" type="parTrans" cxnId="{0227A2E6-2C2C-49DE-963D-9AC55A7EC762}">
      <dgm:prSet/>
      <dgm:spPr/>
      <dgm:t>
        <a:bodyPr/>
        <a:lstStyle/>
        <a:p>
          <a:endParaRPr lang="en-US" sz="2000"/>
        </a:p>
      </dgm:t>
    </dgm:pt>
    <dgm:pt modelId="{9B0DCE72-1BF9-41F4-9D11-CF4DAB8C65C9}" type="sibTrans" cxnId="{0227A2E6-2C2C-49DE-963D-9AC55A7EC762}">
      <dgm:prSet/>
      <dgm:spPr/>
      <dgm:t>
        <a:bodyPr/>
        <a:lstStyle/>
        <a:p>
          <a:endParaRPr lang="en-US" sz="2000"/>
        </a:p>
      </dgm:t>
    </dgm:pt>
    <dgm:pt modelId="{B8003273-93A3-42A1-98C5-7FC988486DFE}">
      <dgm:prSet phldrT="[Text]" custT="1"/>
      <dgm:spPr/>
      <dgm:t>
        <a:bodyPr/>
        <a:lstStyle/>
        <a:p>
          <a:r>
            <a:rPr lang="en-US" sz="2000" b="1" dirty="0" smtClean="0"/>
            <a:t>Set a threshold</a:t>
          </a:r>
          <a:endParaRPr lang="en-US" sz="2000" dirty="0"/>
        </a:p>
      </dgm:t>
    </dgm:pt>
    <dgm:pt modelId="{3B1DBE86-A730-4165-8ED6-130E647D7E29}" type="parTrans" cxnId="{9791F10B-E301-4770-B1D1-C7747CA20C50}">
      <dgm:prSet/>
      <dgm:spPr/>
      <dgm:t>
        <a:bodyPr/>
        <a:lstStyle/>
        <a:p>
          <a:endParaRPr lang="en-US" sz="2000"/>
        </a:p>
      </dgm:t>
    </dgm:pt>
    <dgm:pt modelId="{F90BCFE5-9E98-47C7-839B-DF8105CC3724}" type="sibTrans" cxnId="{9791F10B-E301-4770-B1D1-C7747CA20C50}">
      <dgm:prSet/>
      <dgm:spPr/>
      <dgm:t>
        <a:bodyPr/>
        <a:lstStyle/>
        <a:p>
          <a:endParaRPr lang="en-US" sz="2000"/>
        </a:p>
      </dgm:t>
    </dgm:pt>
    <dgm:pt modelId="{665AA877-6779-493E-8C1B-8995BE5A0143}">
      <dgm:prSet phldrT="[Text]" custT="1"/>
      <dgm:spPr/>
      <dgm:t>
        <a:bodyPr/>
        <a:lstStyle/>
        <a:p>
          <a:r>
            <a:rPr lang="en-US" sz="2000" dirty="0" smtClean="0"/>
            <a:t>Things should not get worse.</a:t>
          </a:r>
          <a:endParaRPr lang="en-US" sz="2000" dirty="0"/>
        </a:p>
      </dgm:t>
    </dgm:pt>
    <dgm:pt modelId="{18F85119-9D79-4211-9B24-6F4487345297}" type="parTrans" cxnId="{A8F53DE2-2666-4734-B7D6-5D36AFC77616}">
      <dgm:prSet/>
      <dgm:spPr/>
      <dgm:t>
        <a:bodyPr/>
        <a:lstStyle/>
        <a:p>
          <a:endParaRPr lang="en-US" sz="2000"/>
        </a:p>
      </dgm:t>
    </dgm:pt>
    <dgm:pt modelId="{F847BADB-E9BF-48BD-8FD7-4B0F9B2FF1B8}" type="sibTrans" cxnId="{A8F53DE2-2666-4734-B7D6-5D36AFC77616}">
      <dgm:prSet/>
      <dgm:spPr/>
      <dgm:t>
        <a:bodyPr/>
        <a:lstStyle/>
        <a:p>
          <a:endParaRPr lang="en-US" sz="2000"/>
        </a:p>
      </dgm:t>
    </dgm:pt>
    <dgm:pt modelId="{CA4006D8-6081-4333-909D-4912C5424A30}">
      <dgm:prSet custT="1"/>
      <dgm:spPr/>
      <dgm:t>
        <a:bodyPr/>
        <a:lstStyle/>
        <a:p>
          <a:r>
            <a:rPr lang="en-US" sz="2000" dirty="0" smtClean="0"/>
            <a:t>FindBugs </a:t>
          </a:r>
          <a:endParaRPr lang="en-US" sz="2000" dirty="0"/>
        </a:p>
      </dgm:t>
    </dgm:pt>
    <dgm:pt modelId="{C3E7F5CF-DC39-4C88-AF88-D8D4B619AE88}" type="parTrans" cxnId="{5A9C3AED-D3DF-4622-A5D0-3103BABEC4ED}">
      <dgm:prSet/>
      <dgm:spPr/>
      <dgm:t>
        <a:bodyPr/>
        <a:lstStyle/>
        <a:p>
          <a:endParaRPr lang="en-US" sz="2000"/>
        </a:p>
      </dgm:t>
    </dgm:pt>
    <dgm:pt modelId="{381E1F23-1E73-4134-BBA3-E4A75EEDEC6F}" type="sibTrans" cxnId="{5A9C3AED-D3DF-4622-A5D0-3103BABEC4ED}">
      <dgm:prSet/>
      <dgm:spPr/>
      <dgm:t>
        <a:bodyPr/>
        <a:lstStyle/>
        <a:p>
          <a:endParaRPr lang="en-US" sz="2000"/>
        </a:p>
      </dgm:t>
    </dgm:pt>
    <dgm:pt modelId="{A38C9635-406B-478C-BF11-3AEF2F83239C}">
      <dgm:prSet custT="1"/>
      <dgm:spPr/>
      <dgm:t>
        <a:bodyPr/>
        <a:lstStyle/>
        <a:p>
          <a:r>
            <a:rPr lang="en-US" sz="2000" dirty="0" smtClean="0"/>
            <a:t>StyleCop</a:t>
          </a:r>
          <a:endParaRPr lang="en-US" sz="2000" dirty="0"/>
        </a:p>
      </dgm:t>
    </dgm:pt>
    <dgm:pt modelId="{AC306FC8-2EEA-4645-8702-2BF4801390CD}" type="parTrans" cxnId="{523413EA-6285-4580-8F5D-48C9AE6B572F}">
      <dgm:prSet/>
      <dgm:spPr/>
      <dgm:t>
        <a:bodyPr/>
        <a:lstStyle/>
        <a:p>
          <a:endParaRPr lang="en-US" sz="2000"/>
        </a:p>
      </dgm:t>
    </dgm:pt>
    <dgm:pt modelId="{4778B691-78DB-40BB-9043-ED618CCB92DC}" type="sibTrans" cxnId="{523413EA-6285-4580-8F5D-48C9AE6B572F}">
      <dgm:prSet/>
      <dgm:spPr/>
      <dgm:t>
        <a:bodyPr/>
        <a:lstStyle/>
        <a:p>
          <a:endParaRPr lang="en-US" sz="2000"/>
        </a:p>
      </dgm:t>
    </dgm:pt>
    <dgm:pt modelId="{2E28B3E4-4010-4B91-B958-4E3E45703C84}" type="pres">
      <dgm:prSet presAssocID="{435A3D6A-3EFD-4A34-83D0-CCBA8FF51F85}" presName="Name0" presStyleCnt="0">
        <dgm:presLayoutVars>
          <dgm:dir/>
          <dgm:animLvl val="lvl"/>
          <dgm:resizeHandles val="exact"/>
        </dgm:presLayoutVars>
      </dgm:prSet>
      <dgm:spPr/>
      <dgm:t>
        <a:bodyPr/>
        <a:lstStyle/>
        <a:p>
          <a:endParaRPr lang="en-US"/>
        </a:p>
      </dgm:t>
    </dgm:pt>
    <dgm:pt modelId="{3588985F-91AE-45E9-B1A5-BDB95658E974}" type="pres">
      <dgm:prSet presAssocID="{176FEEE6-8A27-491C-8F63-332C4ABA2604}" presName="linNode" presStyleCnt="0"/>
      <dgm:spPr/>
    </dgm:pt>
    <dgm:pt modelId="{640A8811-A348-4284-A30C-2A9818F77475}" type="pres">
      <dgm:prSet presAssocID="{176FEEE6-8A27-491C-8F63-332C4ABA2604}" presName="parentText" presStyleLbl="node1" presStyleIdx="0" presStyleCnt="4">
        <dgm:presLayoutVars>
          <dgm:chMax val="1"/>
          <dgm:bulletEnabled val="1"/>
        </dgm:presLayoutVars>
      </dgm:prSet>
      <dgm:spPr/>
      <dgm:t>
        <a:bodyPr/>
        <a:lstStyle/>
        <a:p>
          <a:endParaRPr lang="en-US"/>
        </a:p>
      </dgm:t>
    </dgm:pt>
    <dgm:pt modelId="{C98470F4-F87F-4E77-9691-18741B87E712}" type="pres">
      <dgm:prSet presAssocID="{F78014C9-A68F-4265-9406-D4C8BEDA7402}" presName="sp" presStyleCnt="0"/>
      <dgm:spPr/>
    </dgm:pt>
    <dgm:pt modelId="{13F51F28-D524-41F3-B31F-8A88171EF3E6}" type="pres">
      <dgm:prSet presAssocID="{C80E7AF1-E10C-463C-8197-02E98D5C2CDA}" presName="linNode" presStyleCnt="0"/>
      <dgm:spPr/>
    </dgm:pt>
    <dgm:pt modelId="{C176F13A-B990-4CD2-90D9-A16EB439FE69}" type="pres">
      <dgm:prSet presAssocID="{C80E7AF1-E10C-463C-8197-02E98D5C2CDA}" presName="parentText" presStyleLbl="node1" presStyleIdx="1" presStyleCnt="4">
        <dgm:presLayoutVars>
          <dgm:chMax val="1"/>
          <dgm:bulletEnabled val="1"/>
        </dgm:presLayoutVars>
      </dgm:prSet>
      <dgm:spPr/>
      <dgm:t>
        <a:bodyPr/>
        <a:lstStyle/>
        <a:p>
          <a:endParaRPr lang="en-US"/>
        </a:p>
      </dgm:t>
    </dgm:pt>
    <dgm:pt modelId="{4331C456-DB02-4EEA-AD72-E44014830830}" type="pres">
      <dgm:prSet presAssocID="{C80E7AF1-E10C-463C-8197-02E98D5C2CDA}" presName="descendantText" presStyleLbl="alignAccFollowNode1" presStyleIdx="0" presStyleCnt="3">
        <dgm:presLayoutVars>
          <dgm:bulletEnabled val="1"/>
        </dgm:presLayoutVars>
      </dgm:prSet>
      <dgm:spPr/>
      <dgm:t>
        <a:bodyPr/>
        <a:lstStyle/>
        <a:p>
          <a:endParaRPr lang="en-US"/>
        </a:p>
      </dgm:t>
    </dgm:pt>
    <dgm:pt modelId="{B1DD306F-41D1-44FD-B539-323E887ED780}" type="pres">
      <dgm:prSet presAssocID="{918B55CE-027F-4F37-BBE0-AB3399FE515F}" presName="sp" presStyleCnt="0"/>
      <dgm:spPr/>
    </dgm:pt>
    <dgm:pt modelId="{9BDBA74B-8579-40D7-805D-9387FDAE41EC}" type="pres">
      <dgm:prSet presAssocID="{7976D08B-CD75-4BD5-99A1-8F88224AB9CC}" presName="linNode" presStyleCnt="0"/>
      <dgm:spPr/>
    </dgm:pt>
    <dgm:pt modelId="{5AC42099-5D21-46F9-8CC4-0B9EB9A7397E}" type="pres">
      <dgm:prSet presAssocID="{7976D08B-CD75-4BD5-99A1-8F88224AB9CC}" presName="parentText" presStyleLbl="node1" presStyleIdx="2" presStyleCnt="4">
        <dgm:presLayoutVars>
          <dgm:chMax val="1"/>
          <dgm:bulletEnabled val="1"/>
        </dgm:presLayoutVars>
      </dgm:prSet>
      <dgm:spPr/>
      <dgm:t>
        <a:bodyPr/>
        <a:lstStyle/>
        <a:p>
          <a:endParaRPr lang="en-US"/>
        </a:p>
      </dgm:t>
    </dgm:pt>
    <dgm:pt modelId="{F16F2CA6-CE2C-40AA-97DA-9CFE85AFDD86}" type="pres">
      <dgm:prSet presAssocID="{7976D08B-CD75-4BD5-99A1-8F88224AB9CC}" presName="descendantText" presStyleLbl="alignAccFollowNode1" presStyleIdx="1" presStyleCnt="3">
        <dgm:presLayoutVars>
          <dgm:bulletEnabled val="1"/>
        </dgm:presLayoutVars>
      </dgm:prSet>
      <dgm:spPr/>
      <dgm:t>
        <a:bodyPr/>
        <a:lstStyle/>
        <a:p>
          <a:endParaRPr lang="en-US"/>
        </a:p>
      </dgm:t>
    </dgm:pt>
    <dgm:pt modelId="{A1319125-4535-4FFE-8261-BCF2ED167DDB}" type="pres">
      <dgm:prSet presAssocID="{DF2D842D-1280-4A98-97DC-CB4B03204123}" presName="sp" presStyleCnt="0"/>
      <dgm:spPr/>
    </dgm:pt>
    <dgm:pt modelId="{BC275DAA-5BCE-4450-94C7-84CDF671A131}" type="pres">
      <dgm:prSet presAssocID="{B8003273-93A3-42A1-98C5-7FC988486DFE}" presName="linNode" presStyleCnt="0"/>
      <dgm:spPr/>
    </dgm:pt>
    <dgm:pt modelId="{3C419706-DD53-457D-B0E4-EDF4AA5A9AB9}" type="pres">
      <dgm:prSet presAssocID="{B8003273-93A3-42A1-98C5-7FC988486DFE}" presName="parentText" presStyleLbl="node1" presStyleIdx="3" presStyleCnt="4">
        <dgm:presLayoutVars>
          <dgm:chMax val="1"/>
          <dgm:bulletEnabled val="1"/>
        </dgm:presLayoutVars>
      </dgm:prSet>
      <dgm:spPr/>
      <dgm:t>
        <a:bodyPr/>
        <a:lstStyle/>
        <a:p>
          <a:endParaRPr lang="en-US"/>
        </a:p>
      </dgm:t>
    </dgm:pt>
    <dgm:pt modelId="{BD7B85D9-73B5-45F3-A74D-DFDDDB957896}" type="pres">
      <dgm:prSet presAssocID="{B8003273-93A3-42A1-98C5-7FC988486DFE}" presName="descendantText" presStyleLbl="alignAccFollowNode1" presStyleIdx="2" presStyleCnt="3">
        <dgm:presLayoutVars>
          <dgm:bulletEnabled val="1"/>
        </dgm:presLayoutVars>
      </dgm:prSet>
      <dgm:spPr/>
      <dgm:t>
        <a:bodyPr/>
        <a:lstStyle/>
        <a:p>
          <a:endParaRPr lang="en-US"/>
        </a:p>
      </dgm:t>
    </dgm:pt>
  </dgm:ptLst>
  <dgm:cxnLst>
    <dgm:cxn modelId="{CEBD3A3E-C45B-467F-A705-FE69C7BF6B9B}" type="presOf" srcId="{B8003273-93A3-42A1-98C5-7FC988486DFE}" destId="{3C419706-DD53-457D-B0E4-EDF4AA5A9AB9}" srcOrd="0" destOrd="0" presId="urn:microsoft.com/office/officeart/2005/8/layout/vList5"/>
    <dgm:cxn modelId="{3EB8C46F-E178-4ACD-90B0-ECBFAFBFE0EB}" srcId="{C80E7AF1-E10C-463C-8197-02E98D5C2CDA}" destId="{95E731B0-BF8E-4A89-B3D1-111CCC8329AD}" srcOrd="0" destOrd="0" parTransId="{C4B830BD-EB8F-491C-8EB4-041F0508E80D}" sibTransId="{6513929D-1E93-4A06-9D0A-BE43A7D2B781}"/>
    <dgm:cxn modelId="{0227A2E6-2C2C-49DE-963D-9AC55A7EC762}" srcId="{7976D08B-CD75-4BD5-99A1-8F88224AB9CC}" destId="{4C9C0FF1-AC8D-4705-A0A0-C0CB54C830A8}" srcOrd="0" destOrd="0" parTransId="{E6D637D8-94F7-4769-91F1-990022CE84C9}" sibTransId="{9B0DCE72-1BF9-41F4-9D11-CF4DAB8C65C9}"/>
    <dgm:cxn modelId="{523413EA-6285-4580-8F5D-48C9AE6B572F}" srcId="{7976D08B-CD75-4BD5-99A1-8F88224AB9CC}" destId="{A38C9635-406B-478C-BF11-3AEF2F83239C}" srcOrd="1" destOrd="0" parTransId="{AC306FC8-2EEA-4645-8702-2BF4801390CD}" sibTransId="{4778B691-78DB-40BB-9043-ED618CCB92DC}"/>
    <dgm:cxn modelId="{31F47731-3B4E-4005-94D5-F4C927EA8CB8}" type="presOf" srcId="{CA4006D8-6081-4333-909D-4912C5424A30}" destId="{4331C456-DB02-4EEA-AD72-E44014830830}" srcOrd="0" destOrd="1" presId="urn:microsoft.com/office/officeart/2005/8/layout/vList5"/>
    <dgm:cxn modelId="{793DA9D3-D76F-4073-BFBB-111C9D07D1AA}" type="presOf" srcId="{C80E7AF1-E10C-463C-8197-02E98D5C2CDA}" destId="{C176F13A-B990-4CD2-90D9-A16EB439FE69}" srcOrd="0" destOrd="0" presId="urn:microsoft.com/office/officeart/2005/8/layout/vList5"/>
    <dgm:cxn modelId="{36BF8F5C-D8D0-458B-A62A-B430CA5FE6EE}" type="presOf" srcId="{435A3D6A-3EFD-4A34-83D0-CCBA8FF51F85}" destId="{2E28B3E4-4010-4B91-B958-4E3E45703C84}" srcOrd="0" destOrd="0" presId="urn:microsoft.com/office/officeart/2005/8/layout/vList5"/>
    <dgm:cxn modelId="{E2D8A429-9575-4242-8187-C18895CD3DB3}" type="presOf" srcId="{4C9C0FF1-AC8D-4705-A0A0-C0CB54C830A8}" destId="{F16F2CA6-CE2C-40AA-97DA-9CFE85AFDD86}" srcOrd="0" destOrd="0" presId="urn:microsoft.com/office/officeart/2005/8/layout/vList5"/>
    <dgm:cxn modelId="{A0DC15CA-B08C-4195-9607-792C15680699}" type="presOf" srcId="{95E731B0-BF8E-4A89-B3D1-111CCC8329AD}" destId="{4331C456-DB02-4EEA-AD72-E44014830830}" srcOrd="0" destOrd="0" presId="urn:microsoft.com/office/officeart/2005/8/layout/vList5"/>
    <dgm:cxn modelId="{D49F7414-72F9-4EAF-9C4D-E02C77668F45}" type="presOf" srcId="{176FEEE6-8A27-491C-8F63-332C4ABA2604}" destId="{640A8811-A348-4284-A30C-2A9818F77475}" srcOrd="0" destOrd="0" presId="urn:microsoft.com/office/officeart/2005/8/layout/vList5"/>
    <dgm:cxn modelId="{9791F10B-E301-4770-B1D1-C7747CA20C50}" srcId="{435A3D6A-3EFD-4A34-83D0-CCBA8FF51F85}" destId="{B8003273-93A3-42A1-98C5-7FC988486DFE}" srcOrd="3" destOrd="0" parTransId="{3B1DBE86-A730-4165-8ED6-130E647D7E29}" sibTransId="{F90BCFE5-9E98-47C7-839B-DF8105CC3724}"/>
    <dgm:cxn modelId="{98F702D3-0B94-4AF4-918F-FD836D4E3B5E}" type="presOf" srcId="{A38C9635-406B-478C-BF11-3AEF2F83239C}" destId="{F16F2CA6-CE2C-40AA-97DA-9CFE85AFDD86}" srcOrd="0" destOrd="1" presId="urn:microsoft.com/office/officeart/2005/8/layout/vList5"/>
    <dgm:cxn modelId="{85A9AA6A-CC49-4857-A122-3FD3EDF50E9C}" type="presOf" srcId="{7976D08B-CD75-4BD5-99A1-8F88224AB9CC}" destId="{5AC42099-5D21-46F9-8CC4-0B9EB9A7397E}" srcOrd="0" destOrd="0" presId="urn:microsoft.com/office/officeart/2005/8/layout/vList5"/>
    <dgm:cxn modelId="{5A9C3AED-D3DF-4622-A5D0-3103BABEC4ED}" srcId="{C80E7AF1-E10C-463C-8197-02E98D5C2CDA}" destId="{CA4006D8-6081-4333-909D-4912C5424A30}" srcOrd="1" destOrd="0" parTransId="{C3E7F5CF-DC39-4C88-AF88-D8D4B619AE88}" sibTransId="{381E1F23-1E73-4134-BBA3-E4A75EEDEC6F}"/>
    <dgm:cxn modelId="{F9DCCDAD-5D0B-4D79-8BAC-B726DED798CF}" srcId="{435A3D6A-3EFD-4A34-83D0-CCBA8FF51F85}" destId="{C80E7AF1-E10C-463C-8197-02E98D5C2CDA}" srcOrd="1" destOrd="0" parTransId="{C2C2BBED-3778-4366-8B87-DB385C1FEF4E}" sibTransId="{918B55CE-027F-4F37-BBE0-AB3399FE515F}"/>
    <dgm:cxn modelId="{2A38B7FB-BED2-4914-8D0C-6042EACC49AC}" srcId="{435A3D6A-3EFD-4A34-83D0-CCBA8FF51F85}" destId="{7976D08B-CD75-4BD5-99A1-8F88224AB9CC}" srcOrd="2" destOrd="0" parTransId="{1301C14F-16F2-486C-A12F-29C6AA34BCDA}" sibTransId="{DF2D842D-1280-4A98-97DC-CB4B03204123}"/>
    <dgm:cxn modelId="{4EDE64BA-45A6-400B-B250-6398FDB3772E}" srcId="{435A3D6A-3EFD-4A34-83D0-CCBA8FF51F85}" destId="{176FEEE6-8A27-491C-8F63-332C4ABA2604}" srcOrd="0" destOrd="0" parTransId="{B57E4006-215A-465C-85C8-ECD9B053D14C}" sibTransId="{F78014C9-A68F-4265-9406-D4C8BEDA7402}"/>
    <dgm:cxn modelId="{A8F53DE2-2666-4734-B7D6-5D36AFC77616}" srcId="{B8003273-93A3-42A1-98C5-7FC988486DFE}" destId="{665AA877-6779-493E-8C1B-8995BE5A0143}" srcOrd="0" destOrd="0" parTransId="{18F85119-9D79-4211-9B24-6F4487345297}" sibTransId="{F847BADB-E9BF-48BD-8FD7-4B0F9B2FF1B8}"/>
    <dgm:cxn modelId="{FBEA9981-BCA9-4E9F-9507-32195B79598A}" type="presOf" srcId="{665AA877-6779-493E-8C1B-8995BE5A0143}" destId="{BD7B85D9-73B5-45F3-A74D-DFDDDB957896}" srcOrd="0" destOrd="0" presId="urn:microsoft.com/office/officeart/2005/8/layout/vList5"/>
    <dgm:cxn modelId="{E52E318E-032B-40D0-945F-EB74BA8A6FFF}" type="presParOf" srcId="{2E28B3E4-4010-4B91-B958-4E3E45703C84}" destId="{3588985F-91AE-45E9-B1A5-BDB95658E974}" srcOrd="0" destOrd="0" presId="urn:microsoft.com/office/officeart/2005/8/layout/vList5"/>
    <dgm:cxn modelId="{43C3E85E-830B-4EC3-9BC8-899A0F5BCA66}" type="presParOf" srcId="{3588985F-91AE-45E9-B1A5-BDB95658E974}" destId="{640A8811-A348-4284-A30C-2A9818F77475}" srcOrd="0" destOrd="0" presId="urn:microsoft.com/office/officeart/2005/8/layout/vList5"/>
    <dgm:cxn modelId="{EB7381ED-35EB-4709-B457-4A7995FD41A7}" type="presParOf" srcId="{2E28B3E4-4010-4B91-B958-4E3E45703C84}" destId="{C98470F4-F87F-4E77-9691-18741B87E712}" srcOrd="1" destOrd="0" presId="urn:microsoft.com/office/officeart/2005/8/layout/vList5"/>
    <dgm:cxn modelId="{1233720B-CE62-48B7-9FD7-9E324F01597F}" type="presParOf" srcId="{2E28B3E4-4010-4B91-B958-4E3E45703C84}" destId="{13F51F28-D524-41F3-B31F-8A88171EF3E6}" srcOrd="2" destOrd="0" presId="urn:microsoft.com/office/officeart/2005/8/layout/vList5"/>
    <dgm:cxn modelId="{45EB3583-4412-4CCE-9A55-DF8C41887515}" type="presParOf" srcId="{13F51F28-D524-41F3-B31F-8A88171EF3E6}" destId="{C176F13A-B990-4CD2-90D9-A16EB439FE69}" srcOrd="0" destOrd="0" presId="urn:microsoft.com/office/officeart/2005/8/layout/vList5"/>
    <dgm:cxn modelId="{DBBD1409-AD2A-42A1-B445-5C049DCB9203}" type="presParOf" srcId="{13F51F28-D524-41F3-B31F-8A88171EF3E6}" destId="{4331C456-DB02-4EEA-AD72-E44014830830}" srcOrd="1" destOrd="0" presId="urn:microsoft.com/office/officeart/2005/8/layout/vList5"/>
    <dgm:cxn modelId="{FCF7DEDE-34F1-4BD2-8808-B393F07E2119}" type="presParOf" srcId="{2E28B3E4-4010-4B91-B958-4E3E45703C84}" destId="{B1DD306F-41D1-44FD-B539-323E887ED780}" srcOrd="3" destOrd="0" presId="urn:microsoft.com/office/officeart/2005/8/layout/vList5"/>
    <dgm:cxn modelId="{02551B6C-B41A-44DE-8DFD-F9AF7D83F616}" type="presParOf" srcId="{2E28B3E4-4010-4B91-B958-4E3E45703C84}" destId="{9BDBA74B-8579-40D7-805D-9387FDAE41EC}" srcOrd="4" destOrd="0" presId="urn:microsoft.com/office/officeart/2005/8/layout/vList5"/>
    <dgm:cxn modelId="{AB0E9312-FA45-40E5-9E3C-B153A0A0D7B0}" type="presParOf" srcId="{9BDBA74B-8579-40D7-805D-9387FDAE41EC}" destId="{5AC42099-5D21-46F9-8CC4-0B9EB9A7397E}" srcOrd="0" destOrd="0" presId="urn:microsoft.com/office/officeart/2005/8/layout/vList5"/>
    <dgm:cxn modelId="{AF457D6B-B1E6-4AF5-B1D1-5A434F278F97}" type="presParOf" srcId="{9BDBA74B-8579-40D7-805D-9387FDAE41EC}" destId="{F16F2CA6-CE2C-40AA-97DA-9CFE85AFDD86}" srcOrd="1" destOrd="0" presId="urn:microsoft.com/office/officeart/2005/8/layout/vList5"/>
    <dgm:cxn modelId="{90785E7B-9DC5-4A5C-9930-8380AC49D096}" type="presParOf" srcId="{2E28B3E4-4010-4B91-B958-4E3E45703C84}" destId="{A1319125-4535-4FFE-8261-BCF2ED167DDB}" srcOrd="5" destOrd="0" presId="urn:microsoft.com/office/officeart/2005/8/layout/vList5"/>
    <dgm:cxn modelId="{D483AAAE-15B5-4432-B0AB-5ADB87BBB2E4}" type="presParOf" srcId="{2E28B3E4-4010-4B91-B958-4E3E45703C84}" destId="{BC275DAA-5BCE-4450-94C7-84CDF671A131}" srcOrd="6" destOrd="0" presId="urn:microsoft.com/office/officeart/2005/8/layout/vList5"/>
    <dgm:cxn modelId="{CB54BC17-5ED5-49EB-8112-9529AF32D89D}" type="presParOf" srcId="{BC275DAA-5BCE-4450-94C7-84CDF671A131}" destId="{3C419706-DD53-457D-B0E4-EDF4AA5A9AB9}" srcOrd="0" destOrd="0" presId="urn:microsoft.com/office/officeart/2005/8/layout/vList5"/>
    <dgm:cxn modelId="{18DA741D-7A2F-469E-A006-E45FEDC5945B}" type="presParOf" srcId="{BC275DAA-5BCE-4450-94C7-84CDF671A131}" destId="{BD7B85D9-73B5-45F3-A74D-DFDDDB957896}"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EF4595A-C8FA-4C7E-A98C-563B56353276}" type="doc">
      <dgm:prSet loTypeId="urn:microsoft.com/office/officeart/2005/8/layout/vList4#9"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Make failures known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6429D079-FE5E-4118-9432-937476F7A1EF}">
      <dgm:prSet/>
      <dgm:spPr/>
      <dgm:t>
        <a:bodyPr/>
        <a:lstStyle/>
        <a:p>
          <a:r>
            <a:rPr lang="en-US" b="1" dirty="0" smtClean="0"/>
            <a:t>Don’t false fail </a:t>
          </a:r>
          <a:endParaRPr lang="en-US" b="1" dirty="0"/>
        </a:p>
      </dgm:t>
    </dgm:pt>
    <dgm:pt modelId="{8A7E5953-46EB-4837-A0EB-7B9E3D7F7C2D}" type="parTrans" cxnId="{E1111121-ABE7-4D8E-AC28-1C904CF3C6EE}">
      <dgm:prSet/>
      <dgm:spPr/>
      <dgm:t>
        <a:bodyPr/>
        <a:lstStyle/>
        <a:p>
          <a:endParaRPr lang="en-US"/>
        </a:p>
      </dgm:t>
    </dgm:pt>
    <dgm:pt modelId="{B7AE8E41-892A-4AB9-9351-9F061CF61548}" type="sibTrans" cxnId="{E1111121-ABE7-4D8E-AC28-1C904CF3C6EE}">
      <dgm:prSet/>
      <dgm:spPr/>
      <dgm:t>
        <a:bodyPr/>
        <a:lstStyle/>
        <a:p>
          <a:endParaRPr lang="en-US"/>
        </a:p>
      </dgm:t>
    </dgm:pt>
    <dgm:pt modelId="{E70C601D-D310-4A0E-BDE5-DF00745DFB14}">
      <dgm:prSet/>
      <dgm:spPr/>
      <dgm:t>
        <a:bodyPr/>
        <a:lstStyle/>
        <a:p>
          <a:r>
            <a:rPr lang="en-US" b="1" dirty="0" smtClean="0"/>
            <a:t>Multiple channels </a:t>
          </a:r>
          <a:endParaRPr lang="en-US" b="1" dirty="0"/>
        </a:p>
      </dgm:t>
    </dgm:pt>
    <dgm:pt modelId="{57BD9FFD-9D9E-4D58-8A08-F56822C89585}" type="parTrans" cxnId="{4397E79C-C129-4EA3-8579-5A1781434A0F}">
      <dgm:prSet/>
      <dgm:spPr/>
      <dgm:t>
        <a:bodyPr/>
        <a:lstStyle/>
        <a:p>
          <a:endParaRPr lang="en-US"/>
        </a:p>
      </dgm:t>
    </dgm:pt>
    <dgm:pt modelId="{6F02ACA8-02DD-42D7-AE71-C18B82D904DF}" type="sibTrans" cxnId="{4397E79C-C129-4EA3-8579-5A1781434A0F}">
      <dgm:prSet/>
      <dgm:spPr/>
      <dgm:t>
        <a:bodyPr/>
        <a:lstStyle/>
        <a:p>
          <a:endParaRPr lang="en-US"/>
        </a:p>
      </dgm:t>
    </dgm:pt>
    <dgm:pt modelId="{6069C34C-FB15-42D6-AA1D-5579B8EECFFE}">
      <dgm:prSet/>
      <dgm:spPr/>
      <dgm:t>
        <a:bodyPr/>
        <a:lstStyle/>
        <a:p>
          <a:r>
            <a:rPr lang="en-US" b="1" dirty="0" smtClean="0"/>
            <a:t>Analyze failures</a:t>
          </a:r>
          <a:endParaRPr lang="en-US" dirty="0"/>
        </a:p>
      </dgm:t>
    </dgm:pt>
    <dgm:pt modelId="{21D04907-B2F9-484B-960B-A5A028DD401D}" type="parTrans" cxnId="{FE9A4DAD-B9D9-4BB2-BB04-FE6EC9D2B3E3}">
      <dgm:prSet/>
      <dgm:spPr/>
      <dgm:t>
        <a:bodyPr/>
        <a:lstStyle/>
        <a:p>
          <a:endParaRPr lang="en-US"/>
        </a:p>
      </dgm:t>
    </dgm:pt>
    <dgm:pt modelId="{CE060298-2858-4BF6-BD8A-84F91356099D}" type="sibTrans" cxnId="{FE9A4DAD-B9D9-4BB2-BB04-FE6EC9D2B3E3}">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C8059D30-97F0-4339-9888-F2F7E5E3E7E3}" type="presOf" srcId="{CA6C6C63-F70D-4465-BEBE-4E672C168216}" destId="{EF34F95F-9900-455C-97AA-FDAB3AE3AEBE}" srcOrd="1" destOrd="0" presId="urn:microsoft.com/office/officeart/2005/8/layout/vList4#9"/>
    <dgm:cxn modelId="{D31914D7-E07F-4EFA-BBBB-AFFF3C58F51B}" type="presOf" srcId="{6429D079-FE5E-4118-9432-937476F7A1EF}" destId="{35983E14-7093-4298-B30D-8695D71E82FC}" srcOrd="0" destOrd="2" presId="urn:microsoft.com/office/officeart/2005/8/layout/vList4#9"/>
    <dgm:cxn modelId="{BDAE4D74-87FA-40F6-A924-3524015C92DA}" type="presOf" srcId="{6429D079-FE5E-4118-9432-937476F7A1EF}" destId="{EF34F95F-9900-455C-97AA-FDAB3AE3AEBE}" srcOrd="1" destOrd="2" presId="urn:microsoft.com/office/officeart/2005/8/layout/vList4#9"/>
    <dgm:cxn modelId="{081133BF-F1CE-4B57-8463-B80E2C094378}" type="presOf" srcId="{E70C601D-D310-4A0E-BDE5-DF00745DFB14}" destId="{35983E14-7093-4298-B30D-8695D71E82FC}" srcOrd="0" destOrd="3" presId="urn:microsoft.com/office/officeart/2005/8/layout/vList4#9"/>
    <dgm:cxn modelId="{89B9E637-34BF-491E-B5BE-9828E9F9C178}" type="presOf" srcId="{6069C34C-FB15-42D6-AA1D-5579B8EECFFE}" destId="{35983E14-7093-4298-B30D-8695D71E82FC}" srcOrd="0" destOrd="4" presId="urn:microsoft.com/office/officeart/2005/8/layout/vList4#9"/>
    <dgm:cxn modelId="{2FD7B266-27AF-4800-A9FB-9E93B20DCDF9}" type="presOf" srcId="{CA6C6C63-F70D-4465-BEBE-4E672C168216}" destId="{35983E14-7093-4298-B30D-8695D71E82FC}" srcOrd="0" destOrd="0" presId="urn:microsoft.com/office/officeart/2005/8/layout/vList4#9"/>
    <dgm:cxn modelId="{0207EE09-29AA-4C4B-9358-B83C236C22F4}" type="presOf" srcId="{60C3686A-38C9-4147-AD6F-8AB31BDE1BD1}" destId="{35983E14-7093-4298-B30D-8695D71E82FC}" srcOrd="0" destOrd="5" presId="urn:microsoft.com/office/officeart/2005/8/layout/vList4#9"/>
    <dgm:cxn modelId="{4397E79C-C129-4EA3-8579-5A1781434A0F}" srcId="{CA6C6C63-F70D-4465-BEBE-4E672C168216}" destId="{E70C601D-D310-4A0E-BDE5-DF00745DFB14}" srcOrd="2" destOrd="0" parTransId="{57BD9FFD-9D9E-4D58-8A08-F56822C89585}" sibTransId="{6F02ACA8-02DD-42D7-AE71-C18B82D904DF}"/>
    <dgm:cxn modelId="{FE9A4DAD-B9D9-4BB2-BB04-FE6EC9D2B3E3}" srcId="{CA6C6C63-F70D-4465-BEBE-4E672C168216}" destId="{6069C34C-FB15-42D6-AA1D-5579B8EECFFE}" srcOrd="3" destOrd="0" parTransId="{21D04907-B2F9-484B-960B-A5A028DD401D}" sibTransId="{CE060298-2858-4BF6-BD8A-84F91356099D}"/>
    <dgm:cxn modelId="{0AF1B2B7-C3BB-41B0-90A6-2C3E15891A4A}" type="presOf" srcId="{66D774DF-A322-41BA-A7ED-373E1462C439}" destId="{EF34F95F-9900-455C-97AA-FDAB3AE3AEBE}" srcOrd="1" destOrd="1" presId="urn:microsoft.com/office/officeart/2005/8/layout/vList4#9"/>
    <dgm:cxn modelId="{247B95A3-CFAF-46B4-AE8B-8B1C6D0A50B9}" type="presOf" srcId="{66D774DF-A322-41BA-A7ED-373E1462C439}" destId="{35983E14-7093-4298-B30D-8695D71E82FC}" srcOrd="0" destOrd="1" presId="urn:microsoft.com/office/officeart/2005/8/layout/vList4#9"/>
    <dgm:cxn modelId="{6C1D8D6F-DC90-4ED9-A7A3-B1450EF616DA}" type="presOf" srcId="{60C3686A-38C9-4147-AD6F-8AB31BDE1BD1}" destId="{EF34F95F-9900-455C-97AA-FDAB3AE3AEBE}" srcOrd="1" destOrd="5" presId="urn:microsoft.com/office/officeart/2005/8/layout/vList4#9"/>
    <dgm:cxn modelId="{E1111121-ABE7-4D8E-AC28-1C904CF3C6EE}" srcId="{CA6C6C63-F70D-4465-BEBE-4E672C168216}" destId="{6429D079-FE5E-4118-9432-937476F7A1EF}" srcOrd="1" destOrd="0" parTransId="{8A7E5953-46EB-4837-A0EB-7B9E3D7F7C2D}" sibTransId="{B7AE8E41-892A-4AB9-9351-9F061CF61548}"/>
    <dgm:cxn modelId="{0BB4A141-6FE9-436D-A61D-1F5EAA933CDA}" type="presOf" srcId="{6069C34C-FB15-42D6-AA1D-5579B8EECFFE}" destId="{EF34F95F-9900-455C-97AA-FDAB3AE3AEBE}" srcOrd="1" destOrd="4" presId="urn:microsoft.com/office/officeart/2005/8/layout/vList4#9"/>
    <dgm:cxn modelId="{290A2736-F57E-450C-8700-E0533383ED6F}" srcId="{CA6C6C63-F70D-4465-BEBE-4E672C168216}" destId="{60C3686A-38C9-4147-AD6F-8AB31BDE1BD1}" srcOrd="4" destOrd="0" parTransId="{DDCB8B1F-094C-43F9-A014-22A555586A2D}" sibTransId="{476E433F-719B-4490-9116-8DE59697295D}"/>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6158FD42-C4A7-447C-B1CA-44AF9DDB3917}" type="presOf" srcId="{AEF4595A-C8FA-4C7E-A98C-563B56353276}" destId="{1CECF0B1-CF70-4767-95E8-CF1381FBE634}" srcOrd="0" destOrd="0" presId="urn:microsoft.com/office/officeart/2005/8/layout/vList4#9"/>
    <dgm:cxn modelId="{67BB332E-D679-4066-BE04-E3516C8FD6C9}" type="presOf" srcId="{E70C601D-D310-4A0E-BDE5-DF00745DFB14}" destId="{EF34F95F-9900-455C-97AA-FDAB3AE3AEBE}" srcOrd="1" destOrd="3" presId="urn:microsoft.com/office/officeart/2005/8/layout/vList4#9"/>
    <dgm:cxn modelId="{08E38A55-6BCF-4C9D-92D4-10D6317CA9D7}" type="presParOf" srcId="{1CECF0B1-CF70-4767-95E8-CF1381FBE634}" destId="{2EFE87F4-CF86-40A7-A95F-D5779B6A6492}" srcOrd="0" destOrd="0" presId="urn:microsoft.com/office/officeart/2005/8/layout/vList4#9"/>
    <dgm:cxn modelId="{C6663FD1-A2C7-448E-9DF6-380A3E0F8ED5}" type="presParOf" srcId="{2EFE87F4-CF86-40A7-A95F-D5779B6A6492}" destId="{35983E14-7093-4298-B30D-8695D71E82FC}" srcOrd="0" destOrd="0" presId="urn:microsoft.com/office/officeart/2005/8/layout/vList4#9"/>
    <dgm:cxn modelId="{8D6F6F76-7A58-4CA4-867B-0EDA65F98DCA}" type="presParOf" srcId="{2EFE87F4-CF86-40A7-A95F-D5779B6A6492}" destId="{6DB07FC2-DB01-4F82-BC07-F35E7051AECE}" srcOrd="1" destOrd="0" presId="urn:microsoft.com/office/officeart/2005/8/layout/vList4#9"/>
    <dgm:cxn modelId="{6AEE8B24-DEF9-46FF-9D41-C2A6C7C02CDD}" type="presParOf" srcId="{2EFE87F4-CF86-40A7-A95F-D5779B6A6492}" destId="{EF34F95F-9900-455C-97AA-FDAB3AE3AEBE}" srcOrd="2" destOrd="0" presId="urn:microsoft.com/office/officeart/2005/8/layout/vList4#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EF4595A-C8FA-4C7E-A98C-563B56353276}" type="doc">
      <dgm:prSet loTypeId="urn:microsoft.com/office/officeart/2005/8/layout/vList4#10"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Source code doc generators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572BF1B3-13E4-4EA7-94E0-48485C21F6B6}">
      <dgm:prSet custT="1"/>
      <dgm:spPr/>
      <dgm:t>
        <a:bodyPr/>
        <a:lstStyle/>
        <a:p>
          <a:r>
            <a:rPr lang="en-US" sz="2000" b="1" dirty="0" smtClean="0"/>
            <a:t>Help file generation </a:t>
          </a:r>
          <a:endParaRPr lang="en-US" sz="2000" b="1" dirty="0"/>
        </a:p>
      </dgm:t>
    </dgm:pt>
    <dgm:pt modelId="{10AEF2AB-3E7B-4FD2-B8B6-FE1B6EF0652E}" type="parTrans" cxnId="{AEF5BD8B-B3F1-4A02-A927-6DFF598DA716}">
      <dgm:prSet/>
      <dgm:spPr/>
      <dgm:t>
        <a:bodyPr/>
        <a:lstStyle/>
        <a:p>
          <a:endParaRPr lang="en-US"/>
        </a:p>
      </dgm:t>
    </dgm:pt>
    <dgm:pt modelId="{560A46BA-9679-4E1A-AD73-9E4766C1366C}" type="sibTrans" cxnId="{AEF5BD8B-B3F1-4A02-A927-6DFF598DA716}">
      <dgm:prSet/>
      <dgm:spPr/>
      <dgm:t>
        <a:bodyPr/>
        <a:lstStyle/>
        <a:p>
          <a:endParaRPr lang="en-US"/>
        </a:p>
      </dgm:t>
    </dgm:pt>
    <dgm:pt modelId="{D4B85F21-B886-4596-9FBC-CDFBB3DDD0E3}">
      <dgm:prSet custT="1"/>
      <dgm:spPr/>
      <dgm:t>
        <a:bodyPr/>
        <a:lstStyle/>
        <a:p>
          <a:r>
            <a:rPr lang="en-US" sz="2000" b="1" dirty="0" smtClean="0"/>
            <a:t>API documentation</a:t>
          </a:r>
          <a:endParaRPr lang="en-US" sz="2000" b="1" dirty="0"/>
        </a:p>
      </dgm:t>
    </dgm:pt>
    <dgm:pt modelId="{280CDC9B-B069-435E-B4B3-75EFA4AA1F70}" type="parTrans" cxnId="{3E791293-F3C0-49CB-9FDF-9C6204DD88A2}">
      <dgm:prSet/>
      <dgm:spPr/>
      <dgm:t>
        <a:bodyPr/>
        <a:lstStyle/>
        <a:p>
          <a:endParaRPr lang="en-US"/>
        </a:p>
      </dgm:t>
    </dgm:pt>
    <dgm:pt modelId="{938398CD-3D25-432A-82CF-8582C28BF6A6}" type="sibTrans" cxnId="{3E791293-F3C0-49CB-9FDF-9C6204DD88A2}">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290A2736-F57E-450C-8700-E0533383ED6F}" srcId="{CA6C6C63-F70D-4465-BEBE-4E672C168216}" destId="{60C3686A-38C9-4147-AD6F-8AB31BDE1BD1}" srcOrd="3" destOrd="0" parTransId="{DDCB8B1F-094C-43F9-A014-22A555586A2D}" sibTransId="{476E433F-719B-4490-9116-8DE59697295D}"/>
    <dgm:cxn modelId="{3E791293-F3C0-49CB-9FDF-9C6204DD88A2}" srcId="{CA6C6C63-F70D-4465-BEBE-4E672C168216}" destId="{D4B85F21-B886-4596-9FBC-CDFBB3DDD0E3}" srcOrd="2" destOrd="0" parTransId="{280CDC9B-B069-435E-B4B3-75EFA4AA1F70}" sibTransId="{938398CD-3D25-432A-82CF-8582C28BF6A6}"/>
    <dgm:cxn modelId="{391AA348-7495-4148-A1CA-F4E0B8B2E1AF}" type="presOf" srcId="{60C3686A-38C9-4147-AD6F-8AB31BDE1BD1}" destId="{35983E14-7093-4298-B30D-8695D71E82FC}" srcOrd="0" destOrd="4" presId="urn:microsoft.com/office/officeart/2005/8/layout/vList4#10"/>
    <dgm:cxn modelId="{ACBCF1AD-577B-4CB5-9C20-D8738B100FF9}" type="presOf" srcId="{572BF1B3-13E4-4EA7-94E0-48485C21F6B6}" destId="{EF34F95F-9900-455C-97AA-FDAB3AE3AEBE}" srcOrd="1" destOrd="2" presId="urn:microsoft.com/office/officeart/2005/8/layout/vList4#10"/>
    <dgm:cxn modelId="{E39BC6D0-E5C8-4D95-A91A-F4D239848559}" type="presOf" srcId="{66D774DF-A322-41BA-A7ED-373E1462C439}" destId="{EF34F95F-9900-455C-97AA-FDAB3AE3AEBE}" srcOrd="1" destOrd="1" presId="urn:microsoft.com/office/officeart/2005/8/layout/vList4#10"/>
    <dgm:cxn modelId="{142AEDEA-CD13-4E64-878E-1EBB681559C4}" type="presOf" srcId="{D4B85F21-B886-4596-9FBC-CDFBB3DDD0E3}" destId="{35983E14-7093-4298-B30D-8695D71E82FC}" srcOrd="0" destOrd="3" presId="urn:microsoft.com/office/officeart/2005/8/layout/vList4#10"/>
    <dgm:cxn modelId="{DF7E2DFA-5122-47E3-9E20-F94E062BFAD4}" type="presOf" srcId="{AEF4595A-C8FA-4C7E-A98C-563B56353276}" destId="{1CECF0B1-CF70-4767-95E8-CF1381FBE634}" srcOrd="0" destOrd="0" presId="urn:microsoft.com/office/officeart/2005/8/layout/vList4#10"/>
    <dgm:cxn modelId="{5357235A-85E3-445D-9AD9-85F69468B9B3}" type="presOf" srcId="{66D774DF-A322-41BA-A7ED-373E1462C439}" destId="{35983E14-7093-4298-B30D-8695D71E82FC}" srcOrd="0" destOrd="1" presId="urn:microsoft.com/office/officeart/2005/8/layout/vList4#10"/>
    <dgm:cxn modelId="{C4B68062-EBE2-499F-8B0B-AF6BD08D3554}" type="presOf" srcId="{60C3686A-38C9-4147-AD6F-8AB31BDE1BD1}" destId="{EF34F95F-9900-455C-97AA-FDAB3AE3AEBE}" srcOrd="1" destOrd="4" presId="urn:microsoft.com/office/officeart/2005/8/layout/vList4#10"/>
    <dgm:cxn modelId="{15F79F62-6E16-4CEA-A12B-41219C0D8A39}" type="presOf" srcId="{CA6C6C63-F70D-4465-BEBE-4E672C168216}" destId="{35983E14-7093-4298-B30D-8695D71E82FC}" srcOrd="0" destOrd="0" presId="urn:microsoft.com/office/officeart/2005/8/layout/vList4#10"/>
    <dgm:cxn modelId="{AEF5BD8B-B3F1-4A02-A927-6DFF598DA716}" srcId="{CA6C6C63-F70D-4465-BEBE-4E672C168216}" destId="{572BF1B3-13E4-4EA7-94E0-48485C21F6B6}" srcOrd="1" destOrd="0" parTransId="{10AEF2AB-3E7B-4FD2-B8B6-FE1B6EF0652E}" sibTransId="{560A46BA-9679-4E1A-AD73-9E4766C1366C}"/>
    <dgm:cxn modelId="{45C3715E-B0A8-453E-97F1-74BF2EA1AAF5}" type="presOf" srcId="{CA6C6C63-F70D-4465-BEBE-4E672C168216}" destId="{EF34F95F-9900-455C-97AA-FDAB3AE3AEBE}" srcOrd="1" destOrd="0" presId="urn:microsoft.com/office/officeart/2005/8/layout/vList4#10"/>
    <dgm:cxn modelId="{984E0786-FEA8-4584-A0AE-25A34D4F00BE}" srcId="{AEF4595A-C8FA-4C7E-A98C-563B56353276}" destId="{CA6C6C63-F70D-4465-BEBE-4E672C168216}" srcOrd="0" destOrd="0" parTransId="{3306D787-9F20-4D6D-9851-20FA0AF0D530}" sibTransId="{732BFF71-4FFD-438D-BEC1-AD49BF197A37}"/>
    <dgm:cxn modelId="{78D04E72-20DB-4E45-B805-9B7EC9D5861F}" type="presOf" srcId="{572BF1B3-13E4-4EA7-94E0-48485C21F6B6}" destId="{35983E14-7093-4298-B30D-8695D71E82FC}" srcOrd="0" destOrd="2" presId="urn:microsoft.com/office/officeart/2005/8/layout/vList4#10"/>
    <dgm:cxn modelId="{0E283D01-05C5-4604-8607-FDB4E030532E}" type="presOf" srcId="{D4B85F21-B886-4596-9FBC-CDFBB3DDD0E3}" destId="{EF34F95F-9900-455C-97AA-FDAB3AE3AEBE}" srcOrd="1" destOrd="3" presId="urn:microsoft.com/office/officeart/2005/8/layout/vList4#10"/>
    <dgm:cxn modelId="{5B16E460-6E2F-44AB-A7F2-3A7B12107B0A}" srcId="{CA6C6C63-F70D-4465-BEBE-4E672C168216}" destId="{66D774DF-A322-41BA-A7ED-373E1462C439}" srcOrd="0" destOrd="0" parTransId="{7118CDC3-D838-45EB-928A-E5403CEA1F38}" sibTransId="{73A6B20E-78C5-4D31-97FC-08B2D6BC8BB1}"/>
    <dgm:cxn modelId="{3ED1F501-0076-46FD-B43E-4ECD0484020B}" type="presParOf" srcId="{1CECF0B1-CF70-4767-95E8-CF1381FBE634}" destId="{2EFE87F4-CF86-40A7-A95F-D5779B6A6492}" srcOrd="0" destOrd="0" presId="urn:microsoft.com/office/officeart/2005/8/layout/vList4#10"/>
    <dgm:cxn modelId="{8D7E757F-44A0-451D-8577-FAF0F508ED25}" type="presParOf" srcId="{2EFE87F4-CF86-40A7-A95F-D5779B6A6492}" destId="{35983E14-7093-4298-B30D-8695D71E82FC}" srcOrd="0" destOrd="0" presId="urn:microsoft.com/office/officeart/2005/8/layout/vList4#10"/>
    <dgm:cxn modelId="{260CFF0E-36CE-4C30-B6A9-69A5642019A7}" type="presParOf" srcId="{2EFE87F4-CF86-40A7-A95F-D5779B6A6492}" destId="{6DB07FC2-DB01-4F82-BC07-F35E7051AECE}" srcOrd="1" destOrd="0" presId="urn:microsoft.com/office/officeart/2005/8/layout/vList4#10"/>
    <dgm:cxn modelId="{4C801B71-5732-42C1-BFA3-90DC2C71D87A}" type="presParOf" srcId="{2EFE87F4-CF86-40A7-A95F-D5779B6A6492}" destId="{EF34F95F-9900-455C-97AA-FDAB3AE3AEBE}" srcOrd="2" destOrd="0" presId="urn:microsoft.com/office/officeart/2005/8/layout/vList4#10"/>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A312EC7-BDBA-46CE-B459-9BB2BB38F5A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EBA44CB-7E9C-441C-9A58-A8499F513E6E}">
      <dgm:prSet phldrT="[Text]" custT="1"/>
      <dgm:spPr/>
      <dgm:t>
        <a:bodyPr/>
        <a:lstStyle/>
        <a:p>
          <a:r>
            <a:rPr lang="en-US" sz="1800" b="1" dirty="0" smtClean="0"/>
            <a:t>Jenkins is great for deploying</a:t>
          </a:r>
          <a:endParaRPr lang="en-US" sz="1800" dirty="0"/>
        </a:p>
      </dgm:t>
    </dgm:pt>
    <dgm:pt modelId="{94083048-6AF8-4C4C-A5C1-CDD5873BDFD8}" type="parTrans" cxnId="{2B0D83EF-3763-4910-97D6-DD647055399A}">
      <dgm:prSet/>
      <dgm:spPr/>
      <dgm:t>
        <a:bodyPr/>
        <a:lstStyle/>
        <a:p>
          <a:endParaRPr lang="en-US" sz="1800"/>
        </a:p>
      </dgm:t>
    </dgm:pt>
    <dgm:pt modelId="{63C2A51E-0E28-453E-B136-05D98534E9FE}" type="sibTrans" cxnId="{2B0D83EF-3763-4910-97D6-DD647055399A}">
      <dgm:prSet/>
      <dgm:spPr/>
      <dgm:t>
        <a:bodyPr/>
        <a:lstStyle/>
        <a:p>
          <a:endParaRPr lang="en-US" sz="1800"/>
        </a:p>
      </dgm:t>
    </dgm:pt>
    <dgm:pt modelId="{CB60D574-3C39-497D-AA55-00F9B42007E2}">
      <dgm:prSet phldrT="[Text]" custT="1"/>
      <dgm:spPr/>
      <dgm:t>
        <a:bodyPr/>
        <a:lstStyle/>
        <a:p>
          <a:r>
            <a:rPr lang="en-US" sz="1800" b="1" dirty="0" smtClean="0"/>
            <a:t>Periodic deployments</a:t>
          </a:r>
          <a:endParaRPr lang="en-US" sz="1800" dirty="0"/>
        </a:p>
      </dgm:t>
    </dgm:pt>
    <dgm:pt modelId="{AC6E0347-8F30-4571-AA08-F9198D36FDC9}" type="parTrans" cxnId="{04267FD1-8014-417A-8F2A-79F5AB08D032}">
      <dgm:prSet/>
      <dgm:spPr/>
      <dgm:t>
        <a:bodyPr/>
        <a:lstStyle/>
        <a:p>
          <a:endParaRPr lang="en-US" sz="1800"/>
        </a:p>
      </dgm:t>
    </dgm:pt>
    <dgm:pt modelId="{7C21392D-7C53-45B3-B459-8DFAE50A7E24}" type="sibTrans" cxnId="{04267FD1-8014-417A-8F2A-79F5AB08D032}">
      <dgm:prSet/>
      <dgm:spPr/>
      <dgm:t>
        <a:bodyPr/>
        <a:lstStyle/>
        <a:p>
          <a:endParaRPr lang="en-US" sz="1800"/>
        </a:p>
      </dgm:t>
    </dgm:pt>
    <dgm:pt modelId="{2FAE0F75-FB76-4616-8E45-D436D83CA32D}">
      <dgm:prSet phldrT="[Text]" custT="1"/>
      <dgm:spPr/>
      <dgm:t>
        <a:bodyPr/>
        <a:lstStyle/>
        <a:p>
          <a:r>
            <a:rPr lang="en-US" sz="1800" b="1" dirty="0" smtClean="0"/>
            <a:t>Manual deployments</a:t>
          </a:r>
          <a:endParaRPr lang="en-US" sz="1800" dirty="0"/>
        </a:p>
      </dgm:t>
    </dgm:pt>
    <dgm:pt modelId="{1E27486A-1740-480E-984A-49C180E526E4}" type="parTrans" cxnId="{F9BB6C7D-DDA9-44DA-BF30-06EDB69C801F}">
      <dgm:prSet/>
      <dgm:spPr/>
      <dgm:t>
        <a:bodyPr/>
        <a:lstStyle/>
        <a:p>
          <a:endParaRPr lang="en-US" sz="1800"/>
        </a:p>
      </dgm:t>
    </dgm:pt>
    <dgm:pt modelId="{8F9BB3BF-89AC-41D8-BFFD-422FE4380894}" type="sibTrans" cxnId="{F9BB6C7D-DDA9-44DA-BF30-06EDB69C801F}">
      <dgm:prSet/>
      <dgm:spPr/>
      <dgm:t>
        <a:bodyPr/>
        <a:lstStyle/>
        <a:p>
          <a:endParaRPr lang="en-US" sz="1800"/>
        </a:p>
      </dgm:t>
    </dgm:pt>
    <dgm:pt modelId="{B57E7A03-54B5-4251-A088-04F319E71D34}">
      <dgm:prSet phldrT="[Text]" custT="1"/>
      <dgm:spPr/>
      <dgm:t>
        <a:bodyPr/>
        <a:lstStyle/>
        <a:p>
          <a:r>
            <a:rPr lang="en-US" sz="1800" b="1" dirty="0" smtClean="0"/>
            <a:t>Reporting built in</a:t>
          </a:r>
          <a:endParaRPr lang="en-US" sz="1800" dirty="0"/>
        </a:p>
      </dgm:t>
    </dgm:pt>
    <dgm:pt modelId="{A61FEE76-1613-4DA3-AA2F-0C233D541EA9}" type="parTrans" cxnId="{0098DBF5-2FAD-4139-BB8A-2B55F336A333}">
      <dgm:prSet/>
      <dgm:spPr/>
      <dgm:t>
        <a:bodyPr/>
        <a:lstStyle/>
        <a:p>
          <a:endParaRPr lang="en-US" sz="1800"/>
        </a:p>
      </dgm:t>
    </dgm:pt>
    <dgm:pt modelId="{BF12E4CB-CFC2-4E54-986C-D1E2FFF588AE}" type="sibTrans" cxnId="{0098DBF5-2FAD-4139-BB8A-2B55F336A333}">
      <dgm:prSet/>
      <dgm:spPr/>
      <dgm:t>
        <a:bodyPr/>
        <a:lstStyle/>
        <a:p>
          <a:endParaRPr lang="en-US" sz="1800"/>
        </a:p>
      </dgm:t>
    </dgm:pt>
    <dgm:pt modelId="{B954C7A5-3D3A-48AE-ADE9-5702165AE0DF}" type="pres">
      <dgm:prSet presAssocID="{BA312EC7-BDBA-46CE-B459-9BB2BB38F5A1}" presName="linear" presStyleCnt="0">
        <dgm:presLayoutVars>
          <dgm:animLvl val="lvl"/>
          <dgm:resizeHandles val="exact"/>
        </dgm:presLayoutVars>
      </dgm:prSet>
      <dgm:spPr/>
      <dgm:t>
        <a:bodyPr/>
        <a:lstStyle/>
        <a:p>
          <a:endParaRPr lang="en-US"/>
        </a:p>
      </dgm:t>
    </dgm:pt>
    <dgm:pt modelId="{94C17D73-3F58-4799-BE27-0C2DE499ED0E}" type="pres">
      <dgm:prSet presAssocID="{1EBA44CB-7E9C-441C-9A58-A8499F513E6E}" presName="parentText" presStyleLbl="node1" presStyleIdx="0" presStyleCnt="4" custLinFactY="-11146" custLinFactNeighborY="-100000">
        <dgm:presLayoutVars>
          <dgm:chMax val="0"/>
          <dgm:bulletEnabled val="1"/>
        </dgm:presLayoutVars>
      </dgm:prSet>
      <dgm:spPr/>
      <dgm:t>
        <a:bodyPr/>
        <a:lstStyle/>
        <a:p>
          <a:endParaRPr lang="en-US"/>
        </a:p>
      </dgm:t>
    </dgm:pt>
    <dgm:pt modelId="{DCDC4564-4BB6-4778-9B89-970D0E24E283}" type="pres">
      <dgm:prSet presAssocID="{63C2A51E-0E28-453E-B136-05D98534E9FE}" presName="spacer" presStyleCnt="0"/>
      <dgm:spPr/>
    </dgm:pt>
    <dgm:pt modelId="{3DCE55DA-4D64-4568-9CE7-5E1F52C4E623}" type="pres">
      <dgm:prSet presAssocID="{CB60D574-3C39-497D-AA55-00F9B42007E2}" presName="parentText" presStyleLbl="node1" presStyleIdx="1" presStyleCnt="4" custLinFactNeighborY="-25582">
        <dgm:presLayoutVars>
          <dgm:chMax val="0"/>
          <dgm:bulletEnabled val="1"/>
        </dgm:presLayoutVars>
      </dgm:prSet>
      <dgm:spPr/>
      <dgm:t>
        <a:bodyPr/>
        <a:lstStyle/>
        <a:p>
          <a:endParaRPr lang="en-US"/>
        </a:p>
      </dgm:t>
    </dgm:pt>
    <dgm:pt modelId="{6DBAC6E9-DB16-4E6B-953A-CE8BF160C9AB}" type="pres">
      <dgm:prSet presAssocID="{7C21392D-7C53-45B3-B459-8DFAE50A7E24}" presName="spacer" presStyleCnt="0"/>
      <dgm:spPr/>
    </dgm:pt>
    <dgm:pt modelId="{641804CF-FB99-4767-9D87-C7B30A8113A6}" type="pres">
      <dgm:prSet presAssocID="{2FAE0F75-FB76-4616-8E45-D436D83CA32D}" presName="parentText" presStyleLbl="node1" presStyleIdx="2" presStyleCnt="4" custLinFactNeighborX="44446" custLinFactNeighborY="-32550">
        <dgm:presLayoutVars>
          <dgm:chMax val="0"/>
          <dgm:bulletEnabled val="1"/>
        </dgm:presLayoutVars>
      </dgm:prSet>
      <dgm:spPr/>
      <dgm:t>
        <a:bodyPr/>
        <a:lstStyle/>
        <a:p>
          <a:endParaRPr lang="en-US"/>
        </a:p>
      </dgm:t>
    </dgm:pt>
    <dgm:pt modelId="{F95DC7DE-420B-4CD0-BF57-13A3C97B963B}" type="pres">
      <dgm:prSet presAssocID="{8F9BB3BF-89AC-41D8-BFFD-422FE4380894}" presName="spacer" presStyleCnt="0"/>
      <dgm:spPr/>
    </dgm:pt>
    <dgm:pt modelId="{ECDA6BE7-69E1-448A-B120-3A1C65754CF3}" type="pres">
      <dgm:prSet presAssocID="{B57E7A03-54B5-4251-A088-04F319E71D34}" presName="parentText" presStyleLbl="node1" presStyleIdx="3" presStyleCnt="4" custLinFactNeighborY="-47790">
        <dgm:presLayoutVars>
          <dgm:chMax val="0"/>
          <dgm:bulletEnabled val="1"/>
        </dgm:presLayoutVars>
      </dgm:prSet>
      <dgm:spPr/>
      <dgm:t>
        <a:bodyPr/>
        <a:lstStyle/>
        <a:p>
          <a:endParaRPr lang="en-US"/>
        </a:p>
      </dgm:t>
    </dgm:pt>
  </dgm:ptLst>
  <dgm:cxnLst>
    <dgm:cxn modelId="{96BD990F-7F89-446E-BF04-5FD538E6FFD5}" type="presOf" srcId="{BA312EC7-BDBA-46CE-B459-9BB2BB38F5A1}" destId="{B954C7A5-3D3A-48AE-ADE9-5702165AE0DF}" srcOrd="0" destOrd="0" presId="urn:microsoft.com/office/officeart/2005/8/layout/vList2"/>
    <dgm:cxn modelId="{2B0D83EF-3763-4910-97D6-DD647055399A}" srcId="{BA312EC7-BDBA-46CE-B459-9BB2BB38F5A1}" destId="{1EBA44CB-7E9C-441C-9A58-A8499F513E6E}" srcOrd="0" destOrd="0" parTransId="{94083048-6AF8-4C4C-A5C1-CDD5873BDFD8}" sibTransId="{63C2A51E-0E28-453E-B136-05D98534E9FE}"/>
    <dgm:cxn modelId="{1018A0BC-0AA3-4486-B293-C523D189E1C3}" type="presOf" srcId="{B57E7A03-54B5-4251-A088-04F319E71D34}" destId="{ECDA6BE7-69E1-448A-B120-3A1C65754CF3}" srcOrd="0" destOrd="0" presId="urn:microsoft.com/office/officeart/2005/8/layout/vList2"/>
    <dgm:cxn modelId="{F9BB6C7D-DDA9-44DA-BF30-06EDB69C801F}" srcId="{BA312EC7-BDBA-46CE-B459-9BB2BB38F5A1}" destId="{2FAE0F75-FB76-4616-8E45-D436D83CA32D}" srcOrd="2" destOrd="0" parTransId="{1E27486A-1740-480E-984A-49C180E526E4}" sibTransId="{8F9BB3BF-89AC-41D8-BFFD-422FE4380894}"/>
    <dgm:cxn modelId="{C236FEEB-9BD1-4FD7-8079-52C4A6EF17D3}" type="presOf" srcId="{CB60D574-3C39-497D-AA55-00F9B42007E2}" destId="{3DCE55DA-4D64-4568-9CE7-5E1F52C4E623}" srcOrd="0" destOrd="0" presId="urn:microsoft.com/office/officeart/2005/8/layout/vList2"/>
    <dgm:cxn modelId="{223F5050-4493-47E1-9EAE-1EA3B3C9546A}" type="presOf" srcId="{2FAE0F75-FB76-4616-8E45-D436D83CA32D}" destId="{641804CF-FB99-4767-9D87-C7B30A8113A6}" srcOrd="0" destOrd="0" presId="urn:microsoft.com/office/officeart/2005/8/layout/vList2"/>
    <dgm:cxn modelId="{0098DBF5-2FAD-4139-BB8A-2B55F336A333}" srcId="{BA312EC7-BDBA-46CE-B459-9BB2BB38F5A1}" destId="{B57E7A03-54B5-4251-A088-04F319E71D34}" srcOrd="3" destOrd="0" parTransId="{A61FEE76-1613-4DA3-AA2F-0C233D541EA9}" sibTransId="{BF12E4CB-CFC2-4E54-986C-D1E2FFF588AE}"/>
    <dgm:cxn modelId="{4047491F-138C-4B68-89F7-186AA2EB8052}" type="presOf" srcId="{1EBA44CB-7E9C-441C-9A58-A8499F513E6E}" destId="{94C17D73-3F58-4799-BE27-0C2DE499ED0E}" srcOrd="0" destOrd="0" presId="urn:microsoft.com/office/officeart/2005/8/layout/vList2"/>
    <dgm:cxn modelId="{04267FD1-8014-417A-8F2A-79F5AB08D032}" srcId="{BA312EC7-BDBA-46CE-B459-9BB2BB38F5A1}" destId="{CB60D574-3C39-497D-AA55-00F9B42007E2}" srcOrd="1" destOrd="0" parTransId="{AC6E0347-8F30-4571-AA08-F9198D36FDC9}" sibTransId="{7C21392D-7C53-45B3-B459-8DFAE50A7E24}"/>
    <dgm:cxn modelId="{FF2450E5-633E-4C0C-8CAE-75BB5F922CC4}" type="presParOf" srcId="{B954C7A5-3D3A-48AE-ADE9-5702165AE0DF}" destId="{94C17D73-3F58-4799-BE27-0C2DE499ED0E}" srcOrd="0" destOrd="0" presId="urn:microsoft.com/office/officeart/2005/8/layout/vList2"/>
    <dgm:cxn modelId="{B75DD088-2C8F-405C-972F-88847EE4C800}" type="presParOf" srcId="{B954C7A5-3D3A-48AE-ADE9-5702165AE0DF}" destId="{DCDC4564-4BB6-4778-9B89-970D0E24E283}" srcOrd="1" destOrd="0" presId="urn:microsoft.com/office/officeart/2005/8/layout/vList2"/>
    <dgm:cxn modelId="{597EC338-37B4-4C92-9F64-A49326C1576E}" type="presParOf" srcId="{B954C7A5-3D3A-48AE-ADE9-5702165AE0DF}" destId="{3DCE55DA-4D64-4568-9CE7-5E1F52C4E623}" srcOrd="2" destOrd="0" presId="urn:microsoft.com/office/officeart/2005/8/layout/vList2"/>
    <dgm:cxn modelId="{4B5B8A9F-E8AF-4F46-9986-E5B99FF069CC}" type="presParOf" srcId="{B954C7A5-3D3A-48AE-ADE9-5702165AE0DF}" destId="{6DBAC6E9-DB16-4E6B-953A-CE8BF160C9AB}" srcOrd="3" destOrd="0" presId="urn:microsoft.com/office/officeart/2005/8/layout/vList2"/>
    <dgm:cxn modelId="{71B57AD5-F0D0-48F9-927A-E693A4EFF03C}" type="presParOf" srcId="{B954C7A5-3D3A-48AE-ADE9-5702165AE0DF}" destId="{641804CF-FB99-4767-9D87-C7B30A8113A6}" srcOrd="4" destOrd="0" presId="urn:microsoft.com/office/officeart/2005/8/layout/vList2"/>
    <dgm:cxn modelId="{78501CCB-5E85-45E0-AAF7-873CBD95AEE7}" type="presParOf" srcId="{B954C7A5-3D3A-48AE-ADE9-5702165AE0DF}" destId="{F95DC7DE-420B-4CD0-BF57-13A3C97B963B}" srcOrd="5" destOrd="0" presId="urn:microsoft.com/office/officeart/2005/8/layout/vList2"/>
    <dgm:cxn modelId="{C9307355-95A2-490D-B7C1-4CE29A7F64FC}" type="presParOf" srcId="{B954C7A5-3D3A-48AE-ADE9-5702165AE0DF}" destId="{ECDA6BE7-69E1-448A-B120-3A1C65754CF3}"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099A7D-6755-45ED-A8ED-07F4D1BC7C9F}"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2D27346F-AE2C-4385-A8AA-737BCAD22D2E}">
      <dgm:prSet phldrT="[Text]" custT="1"/>
      <dgm:spPr/>
      <dgm:t>
        <a:bodyPr/>
        <a:lstStyle/>
        <a:p>
          <a:r>
            <a:rPr lang="en-US" sz="2000" b="1" dirty="0" smtClean="0"/>
            <a:t>Integration is painful!</a:t>
          </a:r>
          <a:endParaRPr lang="en-US" sz="2000" b="1" dirty="0"/>
        </a:p>
      </dgm:t>
    </dgm:pt>
    <dgm:pt modelId="{521819D5-4CE6-4EB6-842B-1BDF891616AC}" type="parTrans" cxnId="{ECFCDF91-6E13-46E5-B97F-37A9B87ED173}">
      <dgm:prSet/>
      <dgm:spPr/>
      <dgm:t>
        <a:bodyPr/>
        <a:lstStyle/>
        <a:p>
          <a:endParaRPr lang="en-US" sz="2000"/>
        </a:p>
      </dgm:t>
    </dgm:pt>
    <dgm:pt modelId="{53F716AB-1C01-474B-B21C-2DD064177D68}" type="sibTrans" cxnId="{ECFCDF91-6E13-46E5-B97F-37A9B87ED173}">
      <dgm:prSet/>
      <dgm:spPr/>
      <dgm:t>
        <a:bodyPr/>
        <a:lstStyle/>
        <a:p>
          <a:endParaRPr lang="en-US" sz="2000"/>
        </a:p>
      </dgm:t>
    </dgm:pt>
    <dgm:pt modelId="{D16B0CBC-5C2B-4FDC-8AA7-E24750D175F0}" type="pres">
      <dgm:prSet presAssocID="{9F099A7D-6755-45ED-A8ED-07F4D1BC7C9F}" presName="linear" presStyleCnt="0">
        <dgm:presLayoutVars>
          <dgm:dir/>
          <dgm:animLvl val="lvl"/>
          <dgm:resizeHandles val="exact"/>
        </dgm:presLayoutVars>
      </dgm:prSet>
      <dgm:spPr/>
      <dgm:t>
        <a:bodyPr/>
        <a:lstStyle/>
        <a:p>
          <a:endParaRPr lang="en-US"/>
        </a:p>
      </dgm:t>
    </dgm:pt>
    <dgm:pt modelId="{AB747D21-9C22-4866-B81E-571B8701B5A9}" type="pres">
      <dgm:prSet presAssocID="{2D27346F-AE2C-4385-A8AA-737BCAD22D2E}" presName="parentLin" presStyleCnt="0"/>
      <dgm:spPr/>
    </dgm:pt>
    <dgm:pt modelId="{5F2789C7-BE31-41EB-ACF0-859801F8F902}" type="pres">
      <dgm:prSet presAssocID="{2D27346F-AE2C-4385-A8AA-737BCAD22D2E}" presName="parentLeftMargin" presStyleLbl="node1" presStyleIdx="0" presStyleCnt="1"/>
      <dgm:spPr/>
      <dgm:t>
        <a:bodyPr/>
        <a:lstStyle/>
        <a:p>
          <a:endParaRPr lang="en-US"/>
        </a:p>
      </dgm:t>
    </dgm:pt>
    <dgm:pt modelId="{3F0F5514-5FAF-41D3-B463-67ACE710A63B}" type="pres">
      <dgm:prSet presAssocID="{2D27346F-AE2C-4385-A8AA-737BCAD22D2E}" presName="parentText" presStyleLbl="node1" presStyleIdx="0" presStyleCnt="1" custScaleY="31270" custLinFactNeighborX="-71618" custLinFactNeighborY="-32866">
        <dgm:presLayoutVars>
          <dgm:chMax val="0"/>
          <dgm:bulletEnabled val="1"/>
        </dgm:presLayoutVars>
      </dgm:prSet>
      <dgm:spPr/>
      <dgm:t>
        <a:bodyPr/>
        <a:lstStyle/>
        <a:p>
          <a:endParaRPr lang="en-US"/>
        </a:p>
      </dgm:t>
    </dgm:pt>
    <dgm:pt modelId="{88F86C63-D8C4-439C-BDFE-4841206A9C2D}" type="pres">
      <dgm:prSet presAssocID="{2D27346F-AE2C-4385-A8AA-737BCAD22D2E}" presName="negativeSpace" presStyleCnt="0"/>
      <dgm:spPr/>
    </dgm:pt>
    <dgm:pt modelId="{B0710EDA-227B-4013-B698-AE023023F29A}" type="pres">
      <dgm:prSet presAssocID="{2D27346F-AE2C-4385-A8AA-737BCAD22D2E}" presName="childText" presStyleLbl="conFgAcc1" presStyleIdx="0" presStyleCnt="1" custScaleY="227833" custLinFactNeighborX="-716" custLinFactNeighborY="36772">
        <dgm:presLayoutVars>
          <dgm:bulletEnabled val="1"/>
        </dgm:presLayoutVars>
      </dgm:prSet>
      <dgm:spPr>
        <a:blipFill rotWithShape="0">
          <a:blip xmlns:r="http://schemas.openxmlformats.org/officeDocument/2006/relationships" r:embed="rId1"/>
          <a:stretch>
            <a:fillRect/>
          </a:stretch>
        </a:blipFill>
      </dgm:spPr>
    </dgm:pt>
  </dgm:ptLst>
  <dgm:cxnLst>
    <dgm:cxn modelId="{87201322-AD80-4D69-8379-7B91AA9D3D47}" type="presOf" srcId="{9F099A7D-6755-45ED-A8ED-07F4D1BC7C9F}" destId="{D16B0CBC-5C2B-4FDC-8AA7-E24750D175F0}" srcOrd="0" destOrd="0" presId="urn:microsoft.com/office/officeart/2005/8/layout/list1"/>
    <dgm:cxn modelId="{F9CD15BE-1F73-469F-B34D-84797FBCE4AA}" type="presOf" srcId="{2D27346F-AE2C-4385-A8AA-737BCAD22D2E}" destId="{3F0F5514-5FAF-41D3-B463-67ACE710A63B}" srcOrd="1" destOrd="0" presId="urn:microsoft.com/office/officeart/2005/8/layout/list1"/>
    <dgm:cxn modelId="{F3FF77BC-C889-4B30-BC7A-8DE1EBCA7116}" type="presOf" srcId="{2D27346F-AE2C-4385-A8AA-737BCAD22D2E}" destId="{5F2789C7-BE31-41EB-ACF0-859801F8F902}" srcOrd="0" destOrd="0" presId="urn:microsoft.com/office/officeart/2005/8/layout/list1"/>
    <dgm:cxn modelId="{ECFCDF91-6E13-46E5-B97F-37A9B87ED173}" srcId="{9F099A7D-6755-45ED-A8ED-07F4D1BC7C9F}" destId="{2D27346F-AE2C-4385-A8AA-737BCAD22D2E}" srcOrd="0" destOrd="0" parTransId="{521819D5-4CE6-4EB6-842B-1BDF891616AC}" sibTransId="{53F716AB-1C01-474B-B21C-2DD064177D68}"/>
    <dgm:cxn modelId="{5AECA28C-16FF-4C06-A554-1566F42ADD1B}" type="presParOf" srcId="{D16B0CBC-5C2B-4FDC-8AA7-E24750D175F0}" destId="{AB747D21-9C22-4866-B81E-571B8701B5A9}" srcOrd="0" destOrd="0" presId="urn:microsoft.com/office/officeart/2005/8/layout/list1"/>
    <dgm:cxn modelId="{2670761B-DEBA-4F56-9E43-D423B5EE5688}" type="presParOf" srcId="{AB747D21-9C22-4866-B81E-571B8701B5A9}" destId="{5F2789C7-BE31-41EB-ACF0-859801F8F902}" srcOrd="0" destOrd="0" presId="urn:microsoft.com/office/officeart/2005/8/layout/list1"/>
    <dgm:cxn modelId="{0FBD00AC-8A0E-44CC-AA07-E350C5E66271}" type="presParOf" srcId="{AB747D21-9C22-4866-B81E-571B8701B5A9}" destId="{3F0F5514-5FAF-41D3-B463-67ACE710A63B}" srcOrd="1" destOrd="0" presId="urn:microsoft.com/office/officeart/2005/8/layout/list1"/>
    <dgm:cxn modelId="{4AD61126-10A1-4FF8-8B18-178B931FE558}" type="presParOf" srcId="{D16B0CBC-5C2B-4FDC-8AA7-E24750D175F0}" destId="{88F86C63-D8C4-439C-BDFE-4841206A9C2D}" srcOrd="1" destOrd="0" presId="urn:microsoft.com/office/officeart/2005/8/layout/list1"/>
    <dgm:cxn modelId="{31F7D114-EF60-4FA1-BAF6-0406CE9EDEA6}" type="presParOf" srcId="{D16B0CBC-5C2B-4FDC-8AA7-E24750D175F0}" destId="{B0710EDA-227B-4013-B698-AE023023F29A}"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526A9B-2C20-4631-AE18-F8ED8ABB469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258B11B-DFA3-4033-8B2C-F6A671E47F0A}">
      <dgm:prSet phldrT="[Text]" custT="1"/>
      <dgm:spPr/>
      <dgm:t>
        <a:bodyPr/>
        <a:lstStyle/>
        <a:p>
          <a:r>
            <a:rPr lang="en-US" sz="2000" b="1" dirty="0" smtClean="0"/>
            <a:t>Java 1.5 or higher</a:t>
          </a:r>
          <a:endParaRPr lang="en-US" sz="2000" dirty="0"/>
        </a:p>
      </dgm:t>
    </dgm:pt>
    <dgm:pt modelId="{15A7CCAF-5521-4803-A7A2-30051B3930E9}" type="parTrans" cxnId="{DE18DE35-B5E4-47E5-A7C3-95BE28101F3B}">
      <dgm:prSet/>
      <dgm:spPr/>
      <dgm:t>
        <a:bodyPr/>
        <a:lstStyle/>
        <a:p>
          <a:endParaRPr lang="en-US" sz="2000"/>
        </a:p>
      </dgm:t>
    </dgm:pt>
    <dgm:pt modelId="{68B09FA1-42F4-4908-8783-AB12680661E3}" type="sibTrans" cxnId="{DE18DE35-B5E4-47E5-A7C3-95BE28101F3B}">
      <dgm:prSet/>
      <dgm:spPr/>
      <dgm:t>
        <a:bodyPr/>
        <a:lstStyle/>
        <a:p>
          <a:endParaRPr lang="en-US" sz="2000"/>
        </a:p>
      </dgm:t>
    </dgm:pt>
    <dgm:pt modelId="{1A52CB61-595F-4D9E-82F1-2B4650CDF8BB}">
      <dgm:prSet phldrT="[Text]" custT="1"/>
      <dgm:spPr/>
      <dgm:t>
        <a:bodyPr/>
        <a:lstStyle/>
        <a:p>
          <a:r>
            <a:rPr lang="en-US" sz="2000" b="1" dirty="0" smtClean="0"/>
            <a:t>Java in your path (optional, but preferred) </a:t>
          </a:r>
          <a:endParaRPr lang="en-US" sz="2000" dirty="0"/>
        </a:p>
      </dgm:t>
    </dgm:pt>
    <dgm:pt modelId="{C0AE8794-D5ED-46BC-8366-2CE3CE1F1379}" type="parTrans" cxnId="{EF581FE3-75E1-469C-AF56-1A171C3EF9ED}">
      <dgm:prSet/>
      <dgm:spPr/>
      <dgm:t>
        <a:bodyPr/>
        <a:lstStyle/>
        <a:p>
          <a:endParaRPr lang="en-US" sz="2000"/>
        </a:p>
      </dgm:t>
    </dgm:pt>
    <dgm:pt modelId="{2A21C82F-01E2-451D-AD23-6518B6A83555}" type="sibTrans" cxnId="{EF581FE3-75E1-469C-AF56-1A171C3EF9ED}">
      <dgm:prSet/>
      <dgm:spPr/>
      <dgm:t>
        <a:bodyPr/>
        <a:lstStyle/>
        <a:p>
          <a:endParaRPr lang="en-US" sz="2000"/>
        </a:p>
      </dgm:t>
    </dgm:pt>
    <dgm:pt modelId="{0DC3C6B3-DF47-472B-A3E6-C06B6A2ADA9E}">
      <dgm:prSet phldrT="[Text]" custT="1"/>
      <dgm:spPr/>
      <dgm:t>
        <a:bodyPr/>
        <a:lstStyle/>
        <a:p>
          <a:r>
            <a:rPr lang="en-US" sz="2000" b="1" dirty="0" smtClean="0"/>
            <a:t>Web server (only if you want to host outside of Jenkins) </a:t>
          </a:r>
          <a:endParaRPr lang="en-US" sz="2000" dirty="0"/>
        </a:p>
      </dgm:t>
    </dgm:pt>
    <dgm:pt modelId="{4658C7CF-1901-47D5-824C-ADAD66ACBB76}" type="parTrans" cxnId="{AD0E032F-CAA3-46C5-9C23-B5FCD5384F74}">
      <dgm:prSet/>
      <dgm:spPr/>
      <dgm:t>
        <a:bodyPr/>
        <a:lstStyle/>
        <a:p>
          <a:endParaRPr lang="en-US" sz="2000"/>
        </a:p>
      </dgm:t>
    </dgm:pt>
    <dgm:pt modelId="{AD79AB5F-69F1-416A-993F-49E4B86C6E0C}" type="sibTrans" cxnId="{AD0E032F-CAA3-46C5-9C23-B5FCD5384F74}">
      <dgm:prSet/>
      <dgm:spPr/>
      <dgm:t>
        <a:bodyPr/>
        <a:lstStyle/>
        <a:p>
          <a:endParaRPr lang="en-US" sz="2000"/>
        </a:p>
      </dgm:t>
    </dgm:pt>
    <dgm:pt modelId="{BCF4DD58-4850-4447-A3C4-2F2D8295DDE8}" type="pres">
      <dgm:prSet presAssocID="{4C526A9B-2C20-4631-AE18-F8ED8ABB4698}" presName="linear" presStyleCnt="0">
        <dgm:presLayoutVars>
          <dgm:animLvl val="lvl"/>
          <dgm:resizeHandles val="exact"/>
        </dgm:presLayoutVars>
      </dgm:prSet>
      <dgm:spPr/>
      <dgm:t>
        <a:bodyPr/>
        <a:lstStyle/>
        <a:p>
          <a:endParaRPr lang="en-US"/>
        </a:p>
      </dgm:t>
    </dgm:pt>
    <dgm:pt modelId="{DDAA7F8B-3773-402F-8FB3-C367FF98C83F}" type="pres">
      <dgm:prSet presAssocID="{3258B11B-DFA3-4033-8B2C-F6A671E47F0A}" presName="parentText" presStyleLbl="node1" presStyleIdx="0" presStyleCnt="3">
        <dgm:presLayoutVars>
          <dgm:chMax val="0"/>
          <dgm:bulletEnabled val="1"/>
        </dgm:presLayoutVars>
      </dgm:prSet>
      <dgm:spPr/>
      <dgm:t>
        <a:bodyPr/>
        <a:lstStyle/>
        <a:p>
          <a:endParaRPr lang="en-US"/>
        </a:p>
      </dgm:t>
    </dgm:pt>
    <dgm:pt modelId="{13C1DFD2-195E-4FB0-B07E-0EDDCFADF012}" type="pres">
      <dgm:prSet presAssocID="{68B09FA1-42F4-4908-8783-AB12680661E3}" presName="spacer" presStyleCnt="0"/>
      <dgm:spPr/>
    </dgm:pt>
    <dgm:pt modelId="{DDC8DA12-A4E2-488D-9791-F75C959C254D}" type="pres">
      <dgm:prSet presAssocID="{1A52CB61-595F-4D9E-82F1-2B4650CDF8BB}" presName="parentText" presStyleLbl="node1" presStyleIdx="1" presStyleCnt="3">
        <dgm:presLayoutVars>
          <dgm:chMax val="0"/>
          <dgm:bulletEnabled val="1"/>
        </dgm:presLayoutVars>
      </dgm:prSet>
      <dgm:spPr/>
      <dgm:t>
        <a:bodyPr/>
        <a:lstStyle/>
        <a:p>
          <a:endParaRPr lang="en-US"/>
        </a:p>
      </dgm:t>
    </dgm:pt>
    <dgm:pt modelId="{CC5F65B5-0277-4F5A-B11B-E25789693E8E}" type="pres">
      <dgm:prSet presAssocID="{2A21C82F-01E2-451D-AD23-6518B6A83555}" presName="spacer" presStyleCnt="0"/>
      <dgm:spPr/>
    </dgm:pt>
    <dgm:pt modelId="{6F22FE07-C0A1-4F8A-BB80-174D5537BDDD}" type="pres">
      <dgm:prSet presAssocID="{0DC3C6B3-DF47-472B-A3E6-C06B6A2ADA9E}" presName="parentText" presStyleLbl="node1" presStyleIdx="2" presStyleCnt="3">
        <dgm:presLayoutVars>
          <dgm:chMax val="0"/>
          <dgm:bulletEnabled val="1"/>
        </dgm:presLayoutVars>
      </dgm:prSet>
      <dgm:spPr/>
      <dgm:t>
        <a:bodyPr/>
        <a:lstStyle/>
        <a:p>
          <a:endParaRPr lang="en-US"/>
        </a:p>
      </dgm:t>
    </dgm:pt>
  </dgm:ptLst>
  <dgm:cxnLst>
    <dgm:cxn modelId="{EF581FE3-75E1-469C-AF56-1A171C3EF9ED}" srcId="{4C526A9B-2C20-4631-AE18-F8ED8ABB4698}" destId="{1A52CB61-595F-4D9E-82F1-2B4650CDF8BB}" srcOrd="1" destOrd="0" parTransId="{C0AE8794-D5ED-46BC-8366-2CE3CE1F1379}" sibTransId="{2A21C82F-01E2-451D-AD23-6518B6A83555}"/>
    <dgm:cxn modelId="{D79D58A9-3823-4634-943C-216CB0674E50}" type="presOf" srcId="{3258B11B-DFA3-4033-8B2C-F6A671E47F0A}" destId="{DDAA7F8B-3773-402F-8FB3-C367FF98C83F}" srcOrd="0" destOrd="0" presId="urn:microsoft.com/office/officeart/2005/8/layout/vList2"/>
    <dgm:cxn modelId="{DE18DE35-B5E4-47E5-A7C3-95BE28101F3B}" srcId="{4C526A9B-2C20-4631-AE18-F8ED8ABB4698}" destId="{3258B11B-DFA3-4033-8B2C-F6A671E47F0A}" srcOrd="0" destOrd="0" parTransId="{15A7CCAF-5521-4803-A7A2-30051B3930E9}" sibTransId="{68B09FA1-42F4-4908-8783-AB12680661E3}"/>
    <dgm:cxn modelId="{AD0E032F-CAA3-46C5-9C23-B5FCD5384F74}" srcId="{4C526A9B-2C20-4631-AE18-F8ED8ABB4698}" destId="{0DC3C6B3-DF47-472B-A3E6-C06B6A2ADA9E}" srcOrd="2" destOrd="0" parTransId="{4658C7CF-1901-47D5-824C-ADAD66ACBB76}" sibTransId="{AD79AB5F-69F1-416A-993F-49E4B86C6E0C}"/>
    <dgm:cxn modelId="{F0F28237-4A2A-4061-8383-9AD9B1C08DFF}" type="presOf" srcId="{4C526A9B-2C20-4631-AE18-F8ED8ABB4698}" destId="{BCF4DD58-4850-4447-A3C4-2F2D8295DDE8}" srcOrd="0" destOrd="0" presId="urn:microsoft.com/office/officeart/2005/8/layout/vList2"/>
    <dgm:cxn modelId="{F9E66E2E-A8B6-451D-BF38-BB761AC89012}" type="presOf" srcId="{1A52CB61-595F-4D9E-82F1-2B4650CDF8BB}" destId="{DDC8DA12-A4E2-488D-9791-F75C959C254D}" srcOrd="0" destOrd="0" presId="urn:microsoft.com/office/officeart/2005/8/layout/vList2"/>
    <dgm:cxn modelId="{FEFAFB62-B96B-4BFE-990D-3ECABA9E59AF}" type="presOf" srcId="{0DC3C6B3-DF47-472B-A3E6-C06B6A2ADA9E}" destId="{6F22FE07-C0A1-4F8A-BB80-174D5537BDDD}" srcOrd="0" destOrd="0" presId="urn:microsoft.com/office/officeart/2005/8/layout/vList2"/>
    <dgm:cxn modelId="{063B8F5E-AB6A-4B73-9FC1-B3E64F3C6C85}" type="presParOf" srcId="{BCF4DD58-4850-4447-A3C4-2F2D8295DDE8}" destId="{DDAA7F8B-3773-402F-8FB3-C367FF98C83F}" srcOrd="0" destOrd="0" presId="urn:microsoft.com/office/officeart/2005/8/layout/vList2"/>
    <dgm:cxn modelId="{64F2D2F1-A3C1-4DF1-BF7C-C691702A67A7}" type="presParOf" srcId="{BCF4DD58-4850-4447-A3C4-2F2D8295DDE8}" destId="{13C1DFD2-195E-4FB0-B07E-0EDDCFADF012}" srcOrd="1" destOrd="0" presId="urn:microsoft.com/office/officeart/2005/8/layout/vList2"/>
    <dgm:cxn modelId="{B8DAFD62-BAC8-4D3B-ACD6-90A580EDEB94}" type="presParOf" srcId="{BCF4DD58-4850-4447-A3C4-2F2D8295DDE8}" destId="{DDC8DA12-A4E2-488D-9791-F75C959C254D}" srcOrd="2" destOrd="0" presId="urn:microsoft.com/office/officeart/2005/8/layout/vList2"/>
    <dgm:cxn modelId="{EB1D5439-773D-4BEF-BC0B-85C4997688BF}" type="presParOf" srcId="{BCF4DD58-4850-4447-A3C4-2F2D8295DDE8}" destId="{CC5F65B5-0277-4F5A-B11B-E25789693E8E}" srcOrd="3" destOrd="0" presId="urn:microsoft.com/office/officeart/2005/8/layout/vList2"/>
    <dgm:cxn modelId="{4274BB9C-3D0E-408F-9E07-9E6D6C618549}" type="presParOf" srcId="{BCF4DD58-4850-4447-A3C4-2F2D8295DDE8}" destId="{6F22FE07-C0A1-4F8A-BB80-174D5537BDDD}"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3EC6E3-18F3-471B-9F91-95F730D845B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2AAF5F7-8CD7-4856-8077-66C016953A10}">
      <dgm:prSet phldrT="[Text]" custT="1"/>
      <dgm:spPr/>
      <dgm:t>
        <a:bodyPr/>
        <a:lstStyle/>
        <a:p>
          <a:r>
            <a:rPr lang="en-US" sz="2000" b="1" dirty="0" smtClean="0"/>
            <a:t>Diagram manual process.</a:t>
          </a:r>
          <a:endParaRPr lang="en-US" sz="2000" dirty="0"/>
        </a:p>
      </dgm:t>
    </dgm:pt>
    <dgm:pt modelId="{7E1A3E2E-0C3B-4262-B0CB-5FD23F39EDD1}" type="parTrans" cxnId="{BE696D7A-79F0-466D-A403-DA9B92EFED4A}">
      <dgm:prSet/>
      <dgm:spPr/>
      <dgm:t>
        <a:bodyPr/>
        <a:lstStyle/>
        <a:p>
          <a:endParaRPr lang="en-US" sz="2000"/>
        </a:p>
      </dgm:t>
    </dgm:pt>
    <dgm:pt modelId="{41065D57-475D-4D61-B2AE-4F87DBF4FDA1}" type="sibTrans" cxnId="{BE696D7A-79F0-466D-A403-DA9B92EFED4A}">
      <dgm:prSet/>
      <dgm:spPr/>
      <dgm:t>
        <a:bodyPr/>
        <a:lstStyle/>
        <a:p>
          <a:endParaRPr lang="en-US" sz="2000"/>
        </a:p>
      </dgm:t>
    </dgm:pt>
    <dgm:pt modelId="{EEE3BD20-FEC4-4203-9E8E-4B8FB4D74B42}">
      <dgm:prSet phldrT="[Text]" custT="1"/>
      <dgm:spPr/>
      <dgm:t>
        <a:bodyPr/>
        <a:lstStyle/>
        <a:p>
          <a:r>
            <a:rPr lang="en-US" sz="2000" b="1" dirty="0" smtClean="0"/>
            <a:t>Follow manual steps.</a:t>
          </a:r>
          <a:endParaRPr lang="en-US" sz="2000" dirty="0"/>
        </a:p>
      </dgm:t>
    </dgm:pt>
    <dgm:pt modelId="{FBE2575F-5BC7-406B-A478-A14BEB3FF428}" type="parTrans" cxnId="{5D8CB824-9D8C-4170-8D2A-D8D25DD56D44}">
      <dgm:prSet/>
      <dgm:spPr/>
      <dgm:t>
        <a:bodyPr/>
        <a:lstStyle/>
        <a:p>
          <a:endParaRPr lang="en-US" sz="2000"/>
        </a:p>
      </dgm:t>
    </dgm:pt>
    <dgm:pt modelId="{D100CC0D-4017-4FFE-B2C1-E075D1DE8143}" type="sibTrans" cxnId="{5D8CB824-9D8C-4170-8D2A-D8D25DD56D44}">
      <dgm:prSet/>
      <dgm:spPr/>
      <dgm:t>
        <a:bodyPr/>
        <a:lstStyle/>
        <a:p>
          <a:endParaRPr lang="en-US" sz="2000"/>
        </a:p>
      </dgm:t>
    </dgm:pt>
    <dgm:pt modelId="{595D1F74-6587-410F-818A-584AB03D3DAC}">
      <dgm:prSet phldrT="[Text]" custT="1"/>
      <dgm:spPr/>
      <dgm:t>
        <a:bodyPr/>
        <a:lstStyle/>
        <a:p>
          <a:r>
            <a:rPr lang="en-US" sz="2000" b="1" dirty="0" smtClean="0"/>
            <a:t>Get most basic automation working.</a:t>
          </a:r>
          <a:endParaRPr lang="en-US" sz="2000" dirty="0"/>
        </a:p>
      </dgm:t>
    </dgm:pt>
    <dgm:pt modelId="{29333045-5BFB-4131-B375-87F79C9D7970}" type="parTrans" cxnId="{CFAAFF4E-BCEA-41EC-9D8A-171805087C33}">
      <dgm:prSet/>
      <dgm:spPr/>
      <dgm:t>
        <a:bodyPr/>
        <a:lstStyle/>
        <a:p>
          <a:endParaRPr lang="en-US" sz="2000"/>
        </a:p>
      </dgm:t>
    </dgm:pt>
    <dgm:pt modelId="{C52EB8D5-8FA0-4B2E-9783-427ADDE3E7BD}" type="sibTrans" cxnId="{CFAAFF4E-BCEA-41EC-9D8A-171805087C33}">
      <dgm:prSet/>
      <dgm:spPr/>
      <dgm:t>
        <a:bodyPr/>
        <a:lstStyle/>
        <a:p>
          <a:endParaRPr lang="en-US" sz="2000"/>
        </a:p>
      </dgm:t>
    </dgm:pt>
    <dgm:pt modelId="{C022D3F2-69C7-45F8-8713-B1451F5E22BB}">
      <dgm:prSet phldrT="[Text]" custT="1"/>
      <dgm:spPr/>
      <dgm:t>
        <a:bodyPr/>
        <a:lstStyle/>
        <a:p>
          <a:r>
            <a:rPr lang="en-US" sz="2000" b="1" dirty="0" smtClean="0"/>
            <a:t>Add each step.</a:t>
          </a:r>
          <a:endParaRPr lang="en-US" sz="2000" dirty="0"/>
        </a:p>
      </dgm:t>
    </dgm:pt>
    <dgm:pt modelId="{A857B6E0-80F6-44D9-8CBF-01CDA8E57090}" type="parTrans" cxnId="{8BB9A244-BD65-4A64-8DD5-28FB292A1A90}">
      <dgm:prSet/>
      <dgm:spPr/>
      <dgm:t>
        <a:bodyPr/>
        <a:lstStyle/>
        <a:p>
          <a:endParaRPr lang="en-US" sz="2000"/>
        </a:p>
      </dgm:t>
    </dgm:pt>
    <dgm:pt modelId="{6E1FF731-49AC-45C3-830C-33087379B91E}" type="sibTrans" cxnId="{8BB9A244-BD65-4A64-8DD5-28FB292A1A90}">
      <dgm:prSet/>
      <dgm:spPr/>
      <dgm:t>
        <a:bodyPr/>
        <a:lstStyle/>
        <a:p>
          <a:endParaRPr lang="en-US" sz="2000"/>
        </a:p>
      </dgm:t>
    </dgm:pt>
    <dgm:pt modelId="{4648199F-E556-4E1F-9A36-3EE7C9997B2A}">
      <dgm:prSet phldrT="[Text]" custT="1"/>
      <dgm:spPr/>
      <dgm:t>
        <a:bodyPr/>
        <a:lstStyle/>
        <a:p>
          <a:r>
            <a:rPr lang="en-US" sz="2000" b="1" dirty="0" smtClean="0"/>
            <a:t>Never leave the build in a failed state.</a:t>
          </a:r>
          <a:endParaRPr lang="en-US" sz="2000" dirty="0"/>
        </a:p>
      </dgm:t>
    </dgm:pt>
    <dgm:pt modelId="{01EC0BC0-FCB7-4C84-8EC7-3AFC53467FE8}" type="parTrans" cxnId="{C2CD5E01-8214-45E3-9646-2CA332A12BA4}">
      <dgm:prSet/>
      <dgm:spPr/>
      <dgm:t>
        <a:bodyPr/>
        <a:lstStyle/>
        <a:p>
          <a:endParaRPr lang="en-US" sz="2000"/>
        </a:p>
      </dgm:t>
    </dgm:pt>
    <dgm:pt modelId="{60F481C0-4AF1-4114-A6D0-6639D494D737}" type="sibTrans" cxnId="{C2CD5E01-8214-45E3-9646-2CA332A12BA4}">
      <dgm:prSet/>
      <dgm:spPr/>
      <dgm:t>
        <a:bodyPr/>
        <a:lstStyle/>
        <a:p>
          <a:endParaRPr lang="en-US" sz="2000"/>
        </a:p>
      </dgm:t>
    </dgm:pt>
    <dgm:pt modelId="{CECDD2A9-6E13-47BD-988B-F2C36A6485E5}" type="pres">
      <dgm:prSet presAssocID="{453EC6E3-18F3-471B-9F91-95F730D845B8}" presName="linear" presStyleCnt="0">
        <dgm:presLayoutVars>
          <dgm:animLvl val="lvl"/>
          <dgm:resizeHandles val="exact"/>
        </dgm:presLayoutVars>
      </dgm:prSet>
      <dgm:spPr/>
      <dgm:t>
        <a:bodyPr/>
        <a:lstStyle/>
        <a:p>
          <a:endParaRPr lang="en-US"/>
        </a:p>
      </dgm:t>
    </dgm:pt>
    <dgm:pt modelId="{13A8DCB2-270A-4852-866F-030371BA5DB0}" type="pres">
      <dgm:prSet presAssocID="{12AAF5F7-8CD7-4856-8077-66C016953A10}" presName="parentText" presStyleLbl="node1" presStyleIdx="0" presStyleCnt="5">
        <dgm:presLayoutVars>
          <dgm:chMax val="0"/>
          <dgm:bulletEnabled val="1"/>
        </dgm:presLayoutVars>
      </dgm:prSet>
      <dgm:spPr/>
      <dgm:t>
        <a:bodyPr/>
        <a:lstStyle/>
        <a:p>
          <a:endParaRPr lang="en-US"/>
        </a:p>
      </dgm:t>
    </dgm:pt>
    <dgm:pt modelId="{7C42D3FB-7548-4679-922D-7F4A987705FF}" type="pres">
      <dgm:prSet presAssocID="{41065D57-475D-4D61-B2AE-4F87DBF4FDA1}" presName="spacer" presStyleCnt="0"/>
      <dgm:spPr/>
    </dgm:pt>
    <dgm:pt modelId="{2E653FC5-7CD5-4B7E-ABB8-638A7BBF567D}" type="pres">
      <dgm:prSet presAssocID="{EEE3BD20-FEC4-4203-9E8E-4B8FB4D74B42}" presName="parentText" presStyleLbl="node1" presStyleIdx="1" presStyleCnt="5">
        <dgm:presLayoutVars>
          <dgm:chMax val="0"/>
          <dgm:bulletEnabled val="1"/>
        </dgm:presLayoutVars>
      </dgm:prSet>
      <dgm:spPr/>
      <dgm:t>
        <a:bodyPr/>
        <a:lstStyle/>
        <a:p>
          <a:endParaRPr lang="en-US"/>
        </a:p>
      </dgm:t>
    </dgm:pt>
    <dgm:pt modelId="{D19124B2-63F6-4AC2-AD10-020E11EE40FF}" type="pres">
      <dgm:prSet presAssocID="{D100CC0D-4017-4FFE-B2C1-E075D1DE8143}" presName="spacer" presStyleCnt="0"/>
      <dgm:spPr/>
    </dgm:pt>
    <dgm:pt modelId="{CF9F3747-4F90-453F-87DA-09CC96322CF3}" type="pres">
      <dgm:prSet presAssocID="{595D1F74-6587-410F-818A-584AB03D3DAC}" presName="parentText" presStyleLbl="node1" presStyleIdx="2" presStyleCnt="5">
        <dgm:presLayoutVars>
          <dgm:chMax val="0"/>
          <dgm:bulletEnabled val="1"/>
        </dgm:presLayoutVars>
      </dgm:prSet>
      <dgm:spPr/>
      <dgm:t>
        <a:bodyPr/>
        <a:lstStyle/>
        <a:p>
          <a:endParaRPr lang="en-US"/>
        </a:p>
      </dgm:t>
    </dgm:pt>
    <dgm:pt modelId="{B667F4C2-237A-40DD-BF54-9AADFCBA06AE}" type="pres">
      <dgm:prSet presAssocID="{C52EB8D5-8FA0-4B2E-9783-427ADDE3E7BD}" presName="spacer" presStyleCnt="0"/>
      <dgm:spPr/>
    </dgm:pt>
    <dgm:pt modelId="{D331D30E-31B5-42D0-B52D-E7D105D97027}" type="pres">
      <dgm:prSet presAssocID="{C022D3F2-69C7-45F8-8713-B1451F5E22BB}" presName="parentText" presStyleLbl="node1" presStyleIdx="3" presStyleCnt="5">
        <dgm:presLayoutVars>
          <dgm:chMax val="0"/>
          <dgm:bulletEnabled val="1"/>
        </dgm:presLayoutVars>
      </dgm:prSet>
      <dgm:spPr/>
      <dgm:t>
        <a:bodyPr/>
        <a:lstStyle/>
        <a:p>
          <a:endParaRPr lang="en-US"/>
        </a:p>
      </dgm:t>
    </dgm:pt>
    <dgm:pt modelId="{B2EE188B-E964-4BDE-ADC7-2B62D57B446F}" type="pres">
      <dgm:prSet presAssocID="{6E1FF731-49AC-45C3-830C-33087379B91E}" presName="spacer" presStyleCnt="0"/>
      <dgm:spPr/>
    </dgm:pt>
    <dgm:pt modelId="{7592715D-AE43-4631-9B26-B01D0C596EED}" type="pres">
      <dgm:prSet presAssocID="{4648199F-E556-4E1F-9A36-3EE7C9997B2A}" presName="parentText" presStyleLbl="node1" presStyleIdx="4" presStyleCnt="5">
        <dgm:presLayoutVars>
          <dgm:chMax val="0"/>
          <dgm:bulletEnabled val="1"/>
        </dgm:presLayoutVars>
      </dgm:prSet>
      <dgm:spPr/>
      <dgm:t>
        <a:bodyPr/>
        <a:lstStyle/>
        <a:p>
          <a:endParaRPr lang="en-US"/>
        </a:p>
      </dgm:t>
    </dgm:pt>
  </dgm:ptLst>
  <dgm:cxnLst>
    <dgm:cxn modelId="{D881C39F-2194-42EC-90D5-6E2FA839DFB8}" type="presOf" srcId="{595D1F74-6587-410F-818A-584AB03D3DAC}" destId="{CF9F3747-4F90-453F-87DA-09CC96322CF3}" srcOrd="0" destOrd="0" presId="urn:microsoft.com/office/officeart/2005/8/layout/vList2"/>
    <dgm:cxn modelId="{5D8CB824-9D8C-4170-8D2A-D8D25DD56D44}" srcId="{453EC6E3-18F3-471B-9F91-95F730D845B8}" destId="{EEE3BD20-FEC4-4203-9E8E-4B8FB4D74B42}" srcOrd="1" destOrd="0" parTransId="{FBE2575F-5BC7-406B-A478-A14BEB3FF428}" sibTransId="{D100CC0D-4017-4FFE-B2C1-E075D1DE8143}"/>
    <dgm:cxn modelId="{80F1D8E4-078F-4209-A12E-A0D3862EB4E6}" type="presOf" srcId="{EEE3BD20-FEC4-4203-9E8E-4B8FB4D74B42}" destId="{2E653FC5-7CD5-4B7E-ABB8-638A7BBF567D}" srcOrd="0" destOrd="0" presId="urn:microsoft.com/office/officeart/2005/8/layout/vList2"/>
    <dgm:cxn modelId="{352DFC51-A12A-4846-88A9-4DF2028F92DD}" type="presOf" srcId="{12AAF5F7-8CD7-4856-8077-66C016953A10}" destId="{13A8DCB2-270A-4852-866F-030371BA5DB0}" srcOrd="0" destOrd="0" presId="urn:microsoft.com/office/officeart/2005/8/layout/vList2"/>
    <dgm:cxn modelId="{8BB9A244-BD65-4A64-8DD5-28FB292A1A90}" srcId="{453EC6E3-18F3-471B-9F91-95F730D845B8}" destId="{C022D3F2-69C7-45F8-8713-B1451F5E22BB}" srcOrd="3" destOrd="0" parTransId="{A857B6E0-80F6-44D9-8CBF-01CDA8E57090}" sibTransId="{6E1FF731-49AC-45C3-830C-33087379B91E}"/>
    <dgm:cxn modelId="{728A8267-80E9-43AA-88ED-F0E602150D29}" type="presOf" srcId="{453EC6E3-18F3-471B-9F91-95F730D845B8}" destId="{CECDD2A9-6E13-47BD-988B-F2C36A6485E5}" srcOrd="0" destOrd="0" presId="urn:microsoft.com/office/officeart/2005/8/layout/vList2"/>
    <dgm:cxn modelId="{CFAAFF4E-BCEA-41EC-9D8A-171805087C33}" srcId="{453EC6E3-18F3-471B-9F91-95F730D845B8}" destId="{595D1F74-6587-410F-818A-584AB03D3DAC}" srcOrd="2" destOrd="0" parTransId="{29333045-5BFB-4131-B375-87F79C9D7970}" sibTransId="{C52EB8D5-8FA0-4B2E-9783-427ADDE3E7BD}"/>
    <dgm:cxn modelId="{24EEFBCA-5CC6-4E3F-89B3-2043693EB45B}" type="presOf" srcId="{4648199F-E556-4E1F-9A36-3EE7C9997B2A}" destId="{7592715D-AE43-4631-9B26-B01D0C596EED}" srcOrd="0" destOrd="0" presId="urn:microsoft.com/office/officeart/2005/8/layout/vList2"/>
    <dgm:cxn modelId="{BE696D7A-79F0-466D-A403-DA9B92EFED4A}" srcId="{453EC6E3-18F3-471B-9F91-95F730D845B8}" destId="{12AAF5F7-8CD7-4856-8077-66C016953A10}" srcOrd="0" destOrd="0" parTransId="{7E1A3E2E-0C3B-4262-B0CB-5FD23F39EDD1}" sibTransId="{41065D57-475D-4D61-B2AE-4F87DBF4FDA1}"/>
    <dgm:cxn modelId="{C2CD5E01-8214-45E3-9646-2CA332A12BA4}" srcId="{453EC6E3-18F3-471B-9F91-95F730D845B8}" destId="{4648199F-E556-4E1F-9A36-3EE7C9997B2A}" srcOrd="4" destOrd="0" parTransId="{01EC0BC0-FCB7-4C84-8EC7-3AFC53467FE8}" sibTransId="{60F481C0-4AF1-4114-A6D0-6639D494D737}"/>
    <dgm:cxn modelId="{60D6D1CD-2EE3-4640-A5C9-68F97FF01C10}" type="presOf" srcId="{C022D3F2-69C7-45F8-8713-B1451F5E22BB}" destId="{D331D30E-31B5-42D0-B52D-E7D105D97027}" srcOrd="0" destOrd="0" presId="urn:microsoft.com/office/officeart/2005/8/layout/vList2"/>
    <dgm:cxn modelId="{33A34826-D69D-458F-B3E5-6A3A62D90E69}" type="presParOf" srcId="{CECDD2A9-6E13-47BD-988B-F2C36A6485E5}" destId="{13A8DCB2-270A-4852-866F-030371BA5DB0}" srcOrd="0" destOrd="0" presId="urn:microsoft.com/office/officeart/2005/8/layout/vList2"/>
    <dgm:cxn modelId="{346456C1-10A3-4B9F-BD01-C28C1E95B560}" type="presParOf" srcId="{CECDD2A9-6E13-47BD-988B-F2C36A6485E5}" destId="{7C42D3FB-7548-4679-922D-7F4A987705FF}" srcOrd="1" destOrd="0" presId="urn:microsoft.com/office/officeart/2005/8/layout/vList2"/>
    <dgm:cxn modelId="{00F1A915-F5BC-4E43-B5A7-C56131EB8E66}" type="presParOf" srcId="{CECDD2A9-6E13-47BD-988B-F2C36A6485E5}" destId="{2E653FC5-7CD5-4B7E-ABB8-638A7BBF567D}" srcOrd="2" destOrd="0" presId="urn:microsoft.com/office/officeart/2005/8/layout/vList2"/>
    <dgm:cxn modelId="{6547CFD4-B1B2-49AF-A960-CF781C3661D6}" type="presParOf" srcId="{CECDD2A9-6E13-47BD-988B-F2C36A6485E5}" destId="{D19124B2-63F6-4AC2-AD10-020E11EE40FF}" srcOrd="3" destOrd="0" presId="urn:microsoft.com/office/officeart/2005/8/layout/vList2"/>
    <dgm:cxn modelId="{13915E8A-8BDA-47DB-92A9-A84F6EFBB9A5}" type="presParOf" srcId="{CECDD2A9-6E13-47BD-988B-F2C36A6485E5}" destId="{CF9F3747-4F90-453F-87DA-09CC96322CF3}" srcOrd="4" destOrd="0" presId="urn:microsoft.com/office/officeart/2005/8/layout/vList2"/>
    <dgm:cxn modelId="{406588F8-1E2C-4067-9AD9-3ECAA334973F}" type="presParOf" srcId="{CECDD2A9-6E13-47BD-988B-F2C36A6485E5}" destId="{B667F4C2-237A-40DD-BF54-9AADFCBA06AE}" srcOrd="5" destOrd="0" presId="urn:microsoft.com/office/officeart/2005/8/layout/vList2"/>
    <dgm:cxn modelId="{0200D020-C6F0-4B82-9597-78EE842C5856}" type="presParOf" srcId="{CECDD2A9-6E13-47BD-988B-F2C36A6485E5}" destId="{D331D30E-31B5-42D0-B52D-E7D105D97027}" srcOrd="6" destOrd="0" presId="urn:microsoft.com/office/officeart/2005/8/layout/vList2"/>
    <dgm:cxn modelId="{C29FBFBA-34CA-4F4E-9B9D-046BDC858283}" type="presParOf" srcId="{CECDD2A9-6E13-47BD-988B-F2C36A6485E5}" destId="{B2EE188B-E964-4BDE-ADC7-2B62D57B446F}" srcOrd="7" destOrd="0" presId="urn:microsoft.com/office/officeart/2005/8/layout/vList2"/>
    <dgm:cxn modelId="{9D8600B5-166F-4B91-86DB-0FE22BCAE1D9}" type="presParOf" srcId="{CECDD2A9-6E13-47BD-988B-F2C36A6485E5}" destId="{7592715D-AE43-4631-9B26-B01D0C596EED}"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Git </a:t>
          </a:r>
        </a:p>
        <a:p>
          <a:r>
            <a:rPr lang="en-US" b="1" dirty="0" smtClean="0"/>
            <a:t>Mercurial </a:t>
          </a:r>
          <a:endParaRPr lang="en-US" b="1" dirty="0" smtClean="0"/>
        </a:p>
        <a:p>
          <a:r>
            <a:rPr lang="en-US" b="1" dirty="0" smtClean="0"/>
            <a:t>TF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DA5B898D-388D-4E4C-814F-1E7BC9D47B39}" type="presOf" srcId="{A40588F7-61C1-43CC-9C09-343A277F6795}" destId="{303E1A85-0B17-41D3-B950-F30358AD83B3}" srcOrd="1" destOrd="0" presId="urn:microsoft.com/office/officeart/2005/8/layout/lProcess2"/>
    <dgm:cxn modelId="{F6BA4607-2014-4217-9EF7-1FF526C0C4E7}" type="presOf" srcId="{FA5B09D0-B02E-47BD-A2CC-15F791D99FA8}" destId="{178B5215-42C2-4723-8E15-940459692EB7}"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85DEF7B5-FBC5-4156-8C9A-7CBEB89D484D}" srcId="{FA5B09D0-B02E-47BD-A2CC-15F791D99FA8}" destId="{A40588F7-61C1-43CC-9C09-343A277F6795}" srcOrd="0" destOrd="0" parTransId="{E2E3AA85-3082-478E-A23B-DB6B48306B56}" sibTransId="{EB9B9C18-A2B4-456E-9E32-07D577622F74}"/>
    <dgm:cxn modelId="{B8FC624B-CF88-4E00-85BD-8B3B0AA06055}" type="presOf" srcId="{A40588F7-61C1-43CC-9C09-343A277F6795}" destId="{CADAE698-6E78-43D1-9E61-4146CDA244B7}" srcOrd="0" destOrd="0" presId="urn:microsoft.com/office/officeart/2005/8/layout/lProcess2"/>
    <dgm:cxn modelId="{4C72E37C-E469-4FDE-9521-AEEDDCCF428E}" type="presOf" srcId="{F888B903-1118-4981-9223-1F7F89F14F85}" destId="{D21FC519-3277-4B7B-AA79-AE8CBDDDCE1D}" srcOrd="0" destOrd="0" presId="urn:microsoft.com/office/officeart/2005/8/layout/lProcess2"/>
    <dgm:cxn modelId="{DB0D0A35-9FC1-465F-A352-4627741D05F1}" type="presParOf" srcId="{178B5215-42C2-4723-8E15-940459692EB7}" destId="{29B8E60B-4773-4D64-AF29-5B582CCAB1CF}" srcOrd="0" destOrd="0" presId="urn:microsoft.com/office/officeart/2005/8/layout/lProcess2"/>
    <dgm:cxn modelId="{F5905A0B-D8AB-4885-AEC7-B219382C9D48}" type="presParOf" srcId="{29B8E60B-4773-4D64-AF29-5B582CCAB1CF}" destId="{CADAE698-6E78-43D1-9E61-4146CDA244B7}" srcOrd="0" destOrd="0" presId="urn:microsoft.com/office/officeart/2005/8/layout/lProcess2"/>
    <dgm:cxn modelId="{50F5743B-C27B-4318-8405-B5C4E9D78412}" type="presParOf" srcId="{29B8E60B-4773-4D64-AF29-5B582CCAB1CF}" destId="{303E1A85-0B17-41D3-B950-F30358AD83B3}" srcOrd="1" destOrd="0" presId="urn:microsoft.com/office/officeart/2005/8/layout/lProcess2"/>
    <dgm:cxn modelId="{786E2439-9629-42F8-AA94-E5645F6C57F2}" type="presParOf" srcId="{29B8E60B-4773-4D64-AF29-5B582CCAB1CF}" destId="{14871D16-DE68-465E-8620-8BFBF89BB5BD}" srcOrd="2" destOrd="0" presId="urn:microsoft.com/office/officeart/2005/8/layout/lProcess2"/>
    <dgm:cxn modelId="{EF6C87FC-E790-4DD2-8B3A-C90D73AC84DF}" type="presParOf" srcId="{14871D16-DE68-465E-8620-8BFBF89BB5BD}" destId="{260B8538-1749-4586-A35B-6F0C83948D4D}" srcOrd="0" destOrd="0" presId="urn:microsoft.com/office/officeart/2005/8/layout/lProcess2"/>
    <dgm:cxn modelId="{DC2F8C9C-888B-47DA-9E3D-09D3A36A07C7}"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Github Pull Request </a:t>
          </a:r>
        </a:p>
        <a:p>
          <a:r>
            <a:rPr lang="en-US" b="1" dirty="0" smtClean="0"/>
            <a:t>Join </a:t>
          </a:r>
        </a:p>
        <a:p>
          <a:r>
            <a:rPr lang="en-US" b="1" dirty="0" smtClean="0"/>
            <a:t>Locks and Latche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DC2992EB-B518-41C0-B2B2-0210FEB7C9B7}" type="presOf" srcId="{A40588F7-61C1-43CC-9C09-343A277F6795}" destId="{303E1A85-0B17-41D3-B950-F30358AD83B3}" srcOrd="1" destOrd="0" presId="urn:microsoft.com/office/officeart/2005/8/layout/lProcess2"/>
    <dgm:cxn modelId="{848B8EC0-4DDA-4DC1-BE4E-1F3FEC291605}" type="presOf" srcId="{FA5B09D0-B02E-47BD-A2CC-15F791D99FA8}" destId="{178B5215-42C2-4723-8E15-940459692EB7}"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FD052D61-D107-436D-A0D1-4D338CF922D4}" type="presOf" srcId="{F888B903-1118-4981-9223-1F7F89F14F85}" destId="{D21FC519-3277-4B7B-AA79-AE8CBDDDCE1D}" srcOrd="0" destOrd="0" presId="urn:microsoft.com/office/officeart/2005/8/layout/lProcess2"/>
    <dgm:cxn modelId="{E0086996-6DB1-4552-879F-7D75A752A692}" type="presOf" srcId="{A40588F7-61C1-43CC-9C09-343A277F6795}" destId="{CADAE698-6E78-43D1-9E61-4146CDA244B7}" srcOrd="0"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75DB2F67-9D38-4542-84D5-8199C6A2F8D4}" type="presParOf" srcId="{178B5215-42C2-4723-8E15-940459692EB7}" destId="{29B8E60B-4773-4D64-AF29-5B582CCAB1CF}" srcOrd="0" destOrd="0" presId="urn:microsoft.com/office/officeart/2005/8/layout/lProcess2"/>
    <dgm:cxn modelId="{AC85F9C7-8F7C-4B35-98E9-2308C007D639}" type="presParOf" srcId="{29B8E60B-4773-4D64-AF29-5B582CCAB1CF}" destId="{CADAE698-6E78-43D1-9E61-4146CDA244B7}" srcOrd="0" destOrd="0" presId="urn:microsoft.com/office/officeart/2005/8/layout/lProcess2"/>
    <dgm:cxn modelId="{EDE84B52-B54F-4019-8056-97EADD55B895}" type="presParOf" srcId="{29B8E60B-4773-4D64-AF29-5B582CCAB1CF}" destId="{303E1A85-0B17-41D3-B950-F30358AD83B3}" srcOrd="1" destOrd="0" presId="urn:microsoft.com/office/officeart/2005/8/layout/lProcess2"/>
    <dgm:cxn modelId="{064A502B-9682-4BE9-86A8-51A4F6CF271E}" type="presParOf" srcId="{29B8E60B-4773-4D64-AF29-5B582CCAB1CF}" destId="{14871D16-DE68-465E-8620-8BFBF89BB5BD}" srcOrd="2" destOrd="0" presId="urn:microsoft.com/office/officeart/2005/8/layout/lProcess2"/>
    <dgm:cxn modelId="{4FDB99E4-4E01-4F36-BCB0-1125F1400510}" type="presParOf" srcId="{14871D16-DE68-465E-8620-8BFBF89BB5BD}" destId="{260B8538-1749-4586-A35B-6F0C83948D4D}" srcOrd="0" destOrd="0" presId="urn:microsoft.com/office/officeart/2005/8/layout/lProcess2"/>
    <dgm:cxn modelId="{77B7737F-D8D7-4CFA-A705-960E89CC6C48}"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EF4595A-C8FA-4C7E-A98C-563B56353276}" type="doc">
      <dgm:prSet loTypeId="urn:microsoft.com/office/officeart/2005/8/layout/vList4#5"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lstStyle/>
        <a:p>
          <a:r>
            <a:rPr lang="en-US" sz="2000" dirty="0" smtClean="0"/>
            <a:t> </a:t>
          </a:r>
          <a:endParaRPr lang="en-US" sz="2000" dirty="0"/>
        </a:p>
      </dgm:t>
    </dgm:pt>
    <dgm:pt modelId="{3306D787-9F20-4D6D-9851-20FA0AF0D530}" type="parTrans" cxnId="{984E0786-FEA8-4584-A0AE-25A34D4F00BE}">
      <dgm:prSet/>
      <dgm:spPr/>
      <dgm:t>
        <a:bodyPr/>
        <a:lstStyle/>
        <a:p>
          <a:endParaRPr lang="en-US"/>
        </a:p>
      </dgm:t>
    </dgm:pt>
    <dgm:pt modelId="{732BFF71-4FFD-438D-BEC1-AD49BF197A37}" type="sibTrans" cxnId="{984E0786-FEA8-4584-A0AE-25A34D4F00BE}">
      <dgm:prSet/>
      <dgm:spPr/>
      <dgm:t>
        <a:bodyPr/>
        <a:lstStyle/>
        <a:p>
          <a:endParaRPr lang="en-US"/>
        </a:p>
      </dgm:t>
    </dgm:pt>
    <dgm:pt modelId="{66D774DF-A322-41BA-A7ED-373E1462C439}">
      <dgm:prSet phldrT="[Text]" custT="1"/>
      <dgm:spPr/>
      <dgm:t>
        <a:bodyPr/>
        <a:lstStyle/>
        <a:p>
          <a:r>
            <a:rPr lang="en-US" sz="2000" b="1" dirty="0" smtClean="0"/>
            <a:t>Copy artifacts </a:t>
          </a:r>
          <a:endParaRPr lang="en-US" sz="2000" dirty="0"/>
        </a:p>
      </dgm:t>
    </dgm:pt>
    <dgm:pt modelId="{7118CDC3-D838-45EB-928A-E5403CEA1F38}" type="parTrans" cxnId="{5B16E460-6E2F-44AB-A7F2-3A7B12107B0A}">
      <dgm:prSet/>
      <dgm:spPr/>
      <dgm:t>
        <a:bodyPr/>
        <a:lstStyle/>
        <a:p>
          <a:endParaRPr lang="en-US"/>
        </a:p>
      </dgm:t>
    </dgm:pt>
    <dgm:pt modelId="{73A6B20E-78C5-4D31-97FC-08B2D6BC8BB1}" type="sibTrans" cxnId="{5B16E460-6E2F-44AB-A7F2-3A7B12107B0A}">
      <dgm:prSet/>
      <dgm:spPr/>
      <dgm:t>
        <a:bodyPr/>
        <a:lstStyle/>
        <a:p>
          <a:endParaRPr lang="en-US"/>
        </a:p>
      </dgm:t>
    </dgm:pt>
    <dgm:pt modelId="{D37A9799-77BF-41BF-8C27-36B5FCAB9F03}">
      <dgm:prSet custT="1"/>
      <dgm:spPr/>
      <dgm:t>
        <a:bodyPr/>
        <a:lstStyle/>
        <a:p>
          <a:r>
            <a:rPr lang="en-US" sz="2000" b="1" dirty="0" smtClean="0"/>
            <a:t>Fitness </a:t>
          </a:r>
          <a:endParaRPr lang="en-US" sz="2000" b="1" dirty="0"/>
        </a:p>
      </dgm:t>
    </dgm:pt>
    <dgm:pt modelId="{C5AC5288-0D3D-4B7E-842A-4AC0CD1B0490}" type="parTrans" cxnId="{7B79D31E-CFCD-4356-BEEA-8CD384651FF2}">
      <dgm:prSet/>
      <dgm:spPr/>
      <dgm:t>
        <a:bodyPr/>
        <a:lstStyle/>
        <a:p>
          <a:endParaRPr lang="en-US"/>
        </a:p>
      </dgm:t>
    </dgm:pt>
    <dgm:pt modelId="{A93CB7E2-197B-40CD-B2CA-FFAFF45541ED}" type="sibTrans" cxnId="{7B79D31E-CFCD-4356-BEEA-8CD384651FF2}">
      <dgm:prSet/>
      <dgm:spPr/>
      <dgm:t>
        <a:bodyPr/>
        <a:lstStyle/>
        <a:p>
          <a:endParaRPr lang="en-US"/>
        </a:p>
      </dgm:t>
    </dgm:pt>
    <dgm:pt modelId="{93BFE7C1-699F-41D4-9AA2-9F8709FD451B}">
      <dgm:prSet custT="1"/>
      <dgm:spPr/>
      <dgm:t>
        <a:bodyPr/>
        <a:lstStyle/>
        <a:p>
          <a:r>
            <a:rPr lang="en-US" sz="2000" b="1" dirty="0" smtClean="0"/>
            <a:t>MSBuild </a:t>
          </a:r>
          <a:endParaRPr lang="en-US" sz="2000" b="1" dirty="0"/>
        </a:p>
      </dgm:t>
    </dgm:pt>
    <dgm:pt modelId="{C4E76E4F-77D2-4BA0-91AA-0CE8779364B6}" type="parTrans" cxnId="{8FAE5DB7-F38F-4EBA-926D-4F8A749E5C8A}">
      <dgm:prSet/>
      <dgm:spPr/>
      <dgm:t>
        <a:bodyPr/>
        <a:lstStyle/>
        <a:p>
          <a:endParaRPr lang="en-US"/>
        </a:p>
      </dgm:t>
    </dgm:pt>
    <dgm:pt modelId="{131AC318-0721-41CC-939D-E9CA5A8EEAE9}" type="sibTrans" cxnId="{8FAE5DB7-F38F-4EBA-926D-4F8A749E5C8A}">
      <dgm:prSet/>
      <dgm:spPr/>
      <dgm:t>
        <a:bodyPr/>
        <a:lstStyle/>
        <a:p>
          <a:endParaRPr lang="en-US"/>
        </a:p>
      </dgm:t>
    </dgm:pt>
    <dgm:pt modelId="{355AF150-CF59-4BB4-9176-B941494B0DC1}">
      <dgm:prSet custT="1"/>
      <dgm:spPr/>
      <dgm:t>
        <a:bodyPr/>
        <a:lstStyle/>
        <a:p>
          <a:r>
            <a:rPr lang="en-US" sz="2000" b="1" dirty="0" smtClean="0"/>
            <a:t>MSTest Runner </a:t>
          </a:r>
          <a:endParaRPr lang="en-US" sz="2000" b="1" dirty="0"/>
        </a:p>
      </dgm:t>
    </dgm:pt>
    <dgm:pt modelId="{CEF9B88B-588D-4B8F-A8EC-B8126EC6103C}" type="parTrans" cxnId="{C2B4437C-1237-47FB-9328-143CB0FF4DED}">
      <dgm:prSet/>
      <dgm:spPr/>
      <dgm:t>
        <a:bodyPr/>
        <a:lstStyle/>
        <a:p>
          <a:endParaRPr lang="en-US"/>
        </a:p>
      </dgm:t>
    </dgm:pt>
    <dgm:pt modelId="{5ADAF32B-2C9A-41A8-9A6F-1566E02A1A9B}" type="sibTrans" cxnId="{C2B4437C-1237-47FB-9328-143CB0FF4DED}">
      <dgm:prSet/>
      <dgm:spPr/>
      <dgm:t>
        <a:bodyPr/>
        <a:lstStyle/>
        <a:p>
          <a:endParaRPr lang="en-US"/>
        </a:p>
      </dgm:t>
    </dgm:pt>
    <dgm:pt modelId="{AEF38FFB-A3C0-4AC0-90E0-A05E8BCE5DEB}">
      <dgm:prSet custT="1"/>
      <dgm:spPr/>
      <dgm:t>
        <a:bodyPr/>
        <a:lstStyle/>
        <a:p>
          <a:r>
            <a:rPr lang="en-US" sz="2000" b="1" dirty="0" smtClean="0"/>
            <a:t>NAnt </a:t>
          </a:r>
          <a:endParaRPr lang="en-US" sz="2000" b="1" dirty="0"/>
        </a:p>
      </dgm:t>
    </dgm:pt>
    <dgm:pt modelId="{5048FD7E-6A9F-40FE-B945-5C261DBD42C2}" type="parTrans" cxnId="{ADA89A77-26A2-4723-AFB8-DA0DE008CBE2}">
      <dgm:prSet/>
      <dgm:spPr/>
      <dgm:t>
        <a:bodyPr/>
        <a:lstStyle/>
        <a:p>
          <a:endParaRPr lang="en-US"/>
        </a:p>
      </dgm:t>
    </dgm:pt>
    <dgm:pt modelId="{A02F87F2-B5B9-4920-B225-485724CCE88F}" type="sibTrans" cxnId="{ADA89A77-26A2-4723-AFB8-DA0DE008CBE2}">
      <dgm:prSet/>
      <dgm:spPr/>
      <dgm:t>
        <a:bodyPr/>
        <a:lstStyle/>
        <a:p>
          <a:endParaRPr lang="en-US"/>
        </a:p>
      </dgm:t>
    </dgm:pt>
    <dgm:pt modelId="{D9E7D73C-ED43-4748-AD29-E9612BABB785}">
      <dgm:prSet custT="1"/>
      <dgm:spPr/>
      <dgm:t>
        <a:bodyPr/>
        <a:lstStyle/>
        <a:p>
          <a:r>
            <a:rPr lang="en-US" sz="2000" b="1" dirty="0" smtClean="0"/>
            <a:t>Powershell </a:t>
          </a:r>
          <a:endParaRPr lang="en-US" sz="2000" b="1" dirty="0"/>
        </a:p>
      </dgm:t>
    </dgm:pt>
    <dgm:pt modelId="{0618A995-62F4-4EE3-826D-F3930F3BD13D}" type="parTrans" cxnId="{725E00AA-35F1-4C0E-8455-76A37E291707}">
      <dgm:prSet/>
      <dgm:spPr/>
      <dgm:t>
        <a:bodyPr/>
        <a:lstStyle/>
        <a:p>
          <a:endParaRPr lang="en-US"/>
        </a:p>
      </dgm:t>
    </dgm:pt>
    <dgm:pt modelId="{63B60C6E-05FD-4A75-899B-B1A56F6CEB2E}" type="sibTrans" cxnId="{725E00AA-35F1-4C0E-8455-76A37E291707}">
      <dgm:prSet/>
      <dgm:spPr/>
      <dgm:t>
        <a:bodyPr/>
        <a:lstStyle/>
        <a:p>
          <a:endParaRPr lang="en-US"/>
        </a:p>
      </dgm:t>
    </dgm:pt>
    <dgm:pt modelId="{9F10EE97-3100-4165-A238-FFC5AE7E3EF8}">
      <dgm:prSet custT="1"/>
      <dgm:spPr/>
      <dgm:t>
        <a:bodyPr/>
        <a:lstStyle/>
        <a:p>
          <a:r>
            <a:rPr lang="en-US" sz="2000" b="1" dirty="0" smtClean="0"/>
            <a:t>Promoted Builds </a:t>
          </a:r>
          <a:endParaRPr lang="en-US" sz="2000" b="1" dirty="0"/>
        </a:p>
      </dgm:t>
    </dgm:pt>
    <dgm:pt modelId="{F053E630-0F7E-4355-87A2-686FF1B886DF}" type="parTrans" cxnId="{A9A13DCA-4083-4791-94FD-326F49289639}">
      <dgm:prSet/>
      <dgm:spPr/>
      <dgm:t>
        <a:bodyPr/>
        <a:lstStyle/>
        <a:p>
          <a:endParaRPr lang="en-US"/>
        </a:p>
      </dgm:t>
    </dgm:pt>
    <dgm:pt modelId="{0B6F588A-0BC4-4D94-808D-A014858A7DD2}" type="sibTrans" cxnId="{A9A13DCA-4083-4791-94FD-326F49289639}">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08411" custScaleY="111099" custLinFactNeighborX="35424"/>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2686F889-6FC4-4593-BDEB-0CD93380F2AC}" type="presOf" srcId="{AEF4595A-C8FA-4C7E-A98C-563B56353276}" destId="{1CECF0B1-CF70-4767-95E8-CF1381FBE634}" srcOrd="0" destOrd="0" presId="urn:microsoft.com/office/officeart/2005/8/layout/vList4#5"/>
    <dgm:cxn modelId="{ADA89A77-26A2-4723-AFB8-DA0DE008CBE2}" srcId="{CA6C6C63-F70D-4465-BEBE-4E672C168216}" destId="{AEF38FFB-A3C0-4AC0-90E0-A05E8BCE5DEB}" srcOrd="4" destOrd="0" parTransId="{5048FD7E-6A9F-40FE-B945-5C261DBD42C2}" sibTransId="{A02F87F2-B5B9-4920-B225-485724CCE88F}"/>
    <dgm:cxn modelId="{E7FA36E7-393B-4C5E-9E58-74BF184E74EA}" type="presOf" srcId="{D37A9799-77BF-41BF-8C27-36B5FCAB9F03}" destId="{EF34F95F-9900-455C-97AA-FDAB3AE3AEBE}" srcOrd="1" destOrd="2" presId="urn:microsoft.com/office/officeart/2005/8/layout/vList4#5"/>
    <dgm:cxn modelId="{8BA48A08-CE6C-42AD-A248-49E790A73723}" type="presOf" srcId="{AEF38FFB-A3C0-4AC0-90E0-A05E8BCE5DEB}" destId="{35983E14-7093-4298-B30D-8695D71E82FC}" srcOrd="0" destOrd="5" presId="urn:microsoft.com/office/officeart/2005/8/layout/vList4#5"/>
    <dgm:cxn modelId="{06192D03-F9F2-41B9-A878-ABC5B689B126}" type="presOf" srcId="{355AF150-CF59-4BB4-9176-B941494B0DC1}" destId="{35983E14-7093-4298-B30D-8695D71E82FC}" srcOrd="0" destOrd="4" presId="urn:microsoft.com/office/officeart/2005/8/layout/vList4#5"/>
    <dgm:cxn modelId="{D988A546-3A68-4790-9922-ECD28457F8FC}" type="presOf" srcId="{9F10EE97-3100-4165-A238-FFC5AE7E3EF8}" destId="{EF34F95F-9900-455C-97AA-FDAB3AE3AEBE}" srcOrd="1" destOrd="7" presId="urn:microsoft.com/office/officeart/2005/8/layout/vList4#5"/>
    <dgm:cxn modelId="{7B79D31E-CFCD-4356-BEEA-8CD384651FF2}" srcId="{CA6C6C63-F70D-4465-BEBE-4E672C168216}" destId="{D37A9799-77BF-41BF-8C27-36B5FCAB9F03}" srcOrd="1" destOrd="0" parTransId="{C5AC5288-0D3D-4B7E-842A-4AC0CD1B0490}" sibTransId="{A93CB7E2-197B-40CD-B2CA-FFAFF45541ED}"/>
    <dgm:cxn modelId="{993C7D2B-00C0-4812-A043-8B73806FD0EF}" type="presOf" srcId="{93BFE7C1-699F-41D4-9AA2-9F8709FD451B}" destId="{EF34F95F-9900-455C-97AA-FDAB3AE3AEBE}" srcOrd="1" destOrd="3" presId="urn:microsoft.com/office/officeart/2005/8/layout/vList4#5"/>
    <dgm:cxn modelId="{9B205C14-2D80-45EB-A174-C2521ED49DC8}" type="presOf" srcId="{355AF150-CF59-4BB4-9176-B941494B0DC1}" destId="{EF34F95F-9900-455C-97AA-FDAB3AE3AEBE}" srcOrd="1" destOrd="4" presId="urn:microsoft.com/office/officeart/2005/8/layout/vList4#5"/>
    <dgm:cxn modelId="{3FA54A5E-11D5-4DC1-8D65-50FC45BC910C}" type="presOf" srcId="{D9E7D73C-ED43-4748-AD29-E9612BABB785}" destId="{35983E14-7093-4298-B30D-8695D71E82FC}" srcOrd="0" destOrd="6" presId="urn:microsoft.com/office/officeart/2005/8/layout/vList4#5"/>
    <dgm:cxn modelId="{A9A13DCA-4083-4791-94FD-326F49289639}" srcId="{CA6C6C63-F70D-4465-BEBE-4E672C168216}" destId="{9F10EE97-3100-4165-A238-FFC5AE7E3EF8}" srcOrd="6" destOrd="0" parTransId="{F053E630-0F7E-4355-87A2-686FF1B886DF}" sibTransId="{0B6F588A-0BC4-4D94-808D-A014858A7DD2}"/>
    <dgm:cxn modelId="{5C3140D4-E21D-4EB0-BD80-1850C425DB31}" type="presOf" srcId="{93BFE7C1-699F-41D4-9AA2-9F8709FD451B}" destId="{35983E14-7093-4298-B30D-8695D71E82FC}" srcOrd="0" destOrd="3" presId="urn:microsoft.com/office/officeart/2005/8/layout/vList4#5"/>
    <dgm:cxn modelId="{C2B4437C-1237-47FB-9328-143CB0FF4DED}" srcId="{CA6C6C63-F70D-4465-BEBE-4E672C168216}" destId="{355AF150-CF59-4BB4-9176-B941494B0DC1}" srcOrd="3" destOrd="0" parTransId="{CEF9B88B-588D-4B8F-A8EC-B8126EC6103C}" sibTransId="{5ADAF32B-2C9A-41A8-9A6F-1566E02A1A9B}"/>
    <dgm:cxn modelId="{D085D573-E93C-4CA0-AF72-DE11C058A1C4}" type="presOf" srcId="{D9E7D73C-ED43-4748-AD29-E9612BABB785}" destId="{EF34F95F-9900-455C-97AA-FDAB3AE3AEBE}" srcOrd="1" destOrd="6" presId="urn:microsoft.com/office/officeart/2005/8/layout/vList4#5"/>
    <dgm:cxn modelId="{725E00AA-35F1-4C0E-8455-76A37E291707}" srcId="{CA6C6C63-F70D-4465-BEBE-4E672C168216}" destId="{D9E7D73C-ED43-4748-AD29-E9612BABB785}" srcOrd="5" destOrd="0" parTransId="{0618A995-62F4-4EE3-826D-F3930F3BD13D}" sibTransId="{63B60C6E-05FD-4A75-899B-B1A56F6CEB2E}"/>
    <dgm:cxn modelId="{5B8CE1FD-4329-4F93-9FBA-44857333237D}" type="presOf" srcId="{CA6C6C63-F70D-4465-BEBE-4E672C168216}" destId="{EF34F95F-9900-455C-97AA-FDAB3AE3AEBE}" srcOrd="1" destOrd="0" presId="urn:microsoft.com/office/officeart/2005/8/layout/vList4#5"/>
    <dgm:cxn modelId="{8FAE5DB7-F38F-4EBA-926D-4F8A749E5C8A}" srcId="{CA6C6C63-F70D-4465-BEBE-4E672C168216}" destId="{93BFE7C1-699F-41D4-9AA2-9F8709FD451B}" srcOrd="2" destOrd="0" parTransId="{C4E76E4F-77D2-4BA0-91AA-0CE8779364B6}" sibTransId="{131AC318-0721-41CC-939D-E9CA5A8EEAE9}"/>
    <dgm:cxn modelId="{76B707CF-9DCA-4618-AD56-4192F50D01B3}" type="presOf" srcId="{66D774DF-A322-41BA-A7ED-373E1462C439}" destId="{35983E14-7093-4298-B30D-8695D71E82FC}" srcOrd="0" destOrd="1" presId="urn:microsoft.com/office/officeart/2005/8/layout/vList4#5"/>
    <dgm:cxn modelId="{D3B3C3BA-9C60-4362-873F-0AE15427B96B}" type="presOf" srcId="{66D774DF-A322-41BA-A7ED-373E1462C439}" destId="{EF34F95F-9900-455C-97AA-FDAB3AE3AEBE}" srcOrd="1" destOrd="1" presId="urn:microsoft.com/office/officeart/2005/8/layout/vList4#5"/>
    <dgm:cxn modelId="{7D21A94C-7064-44E9-A9B0-F7B86A4BC374}" type="presOf" srcId="{D37A9799-77BF-41BF-8C27-36B5FCAB9F03}" destId="{35983E14-7093-4298-B30D-8695D71E82FC}" srcOrd="0" destOrd="2" presId="urn:microsoft.com/office/officeart/2005/8/layout/vList4#5"/>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8518B270-5224-4EBB-8CCF-1C4336C330EE}" type="presOf" srcId="{AEF38FFB-A3C0-4AC0-90E0-A05E8BCE5DEB}" destId="{EF34F95F-9900-455C-97AA-FDAB3AE3AEBE}" srcOrd="1" destOrd="5" presId="urn:microsoft.com/office/officeart/2005/8/layout/vList4#5"/>
    <dgm:cxn modelId="{A1D414D7-0450-42E0-B816-EB2A375744D0}" type="presOf" srcId="{CA6C6C63-F70D-4465-BEBE-4E672C168216}" destId="{35983E14-7093-4298-B30D-8695D71E82FC}" srcOrd="0" destOrd="0" presId="urn:microsoft.com/office/officeart/2005/8/layout/vList4#5"/>
    <dgm:cxn modelId="{8050A37E-4800-4C1B-A4C2-DFED18A6322E}" type="presOf" srcId="{9F10EE97-3100-4165-A238-FFC5AE7E3EF8}" destId="{35983E14-7093-4298-B30D-8695D71E82FC}" srcOrd="0" destOrd="7" presId="urn:microsoft.com/office/officeart/2005/8/layout/vList4#5"/>
    <dgm:cxn modelId="{DEA1FBFE-5E03-4F17-84B1-1250C7DE9264}" type="presParOf" srcId="{1CECF0B1-CF70-4767-95E8-CF1381FBE634}" destId="{2EFE87F4-CF86-40A7-A95F-D5779B6A6492}" srcOrd="0" destOrd="0" presId="urn:microsoft.com/office/officeart/2005/8/layout/vList4#5"/>
    <dgm:cxn modelId="{32A125B4-CC8E-49D5-B674-7B3ABCAFBF40}" type="presParOf" srcId="{2EFE87F4-CF86-40A7-A95F-D5779B6A6492}" destId="{35983E14-7093-4298-B30D-8695D71E82FC}" srcOrd="0" destOrd="0" presId="urn:microsoft.com/office/officeart/2005/8/layout/vList4#5"/>
    <dgm:cxn modelId="{B50330C0-1E1E-46DE-BE5F-7C9AC3B4E516}" type="presParOf" srcId="{2EFE87F4-CF86-40A7-A95F-D5779B6A6492}" destId="{6DB07FC2-DB01-4F82-BC07-F35E7051AECE}" srcOrd="1" destOrd="0" presId="urn:microsoft.com/office/officeart/2005/8/layout/vList4#5"/>
    <dgm:cxn modelId="{357BBD5C-CEF9-43DC-90BD-34D330AA9958}" type="presParOf" srcId="{2EFE87F4-CF86-40A7-A95F-D5779B6A6492}" destId="{EF34F95F-9900-455C-97AA-FDAB3AE3AEBE}" srcOrd="2" destOrd="0" presId="urn:microsoft.com/office/officeart/2005/8/layout/vList4#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Selenium RC </a:t>
          </a:r>
        </a:p>
        <a:p>
          <a:r>
            <a:rPr lang="en-US" b="1" dirty="0" smtClean="0"/>
            <a:t>VMWare </a:t>
          </a:r>
        </a:p>
        <a:p>
          <a:r>
            <a:rPr lang="en-US" b="1" dirty="0" smtClean="0"/>
            <a:t>VirtualBox </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3EF839BD-CE58-4F56-BF19-4F054F0AB239}" srcId="{A40588F7-61C1-43CC-9C09-343A277F6795}" destId="{F888B903-1118-4981-9223-1F7F89F14F85}" srcOrd="0" destOrd="0" parTransId="{B486F413-7601-4215-92D7-B953CF246557}" sibTransId="{582717D5-DCC9-4937-885C-810602F84AA5}"/>
    <dgm:cxn modelId="{1C4228C8-0077-496F-B2B1-3AC12489D76A}" type="presOf" srcId="{A40588F7-61C1-43CC-9C09-343A277F6795}" destId="{303E1A85-0B17-41D3-B950-F30358AD83B3}" srcOrd="1"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81C51A7D-D67D-4EBF-9131-BEC1F16F88FB}" type="presOf" srcId="{FA5B09D0-B02E-47BD-A2CC-15F791D99FA8}" destId="{178B5215-42C2-4723-8E15-940459692EB7}" srcOrd="0" destOrd="0" presId="urn:microsoft.com/office/officeart/2005/8/layout/lProcess2"/>
    <dgm:cxn modelId="{B862F70F-BC20-4D60-91A0-C632A5DD9F56}" type="presOf" srcId="{A40588F7-61C1-43CC-9C09-343A277F6795}" destId="{CADAE698-6E78-43D1-9E61-4146CDA244B7}" srcOrd="0" destOrd="0" presId="urn:microsoft.com/office/officeart/2005/8/layout/lProcess2"/>
    <dgm:cxn modelId="{7D11E8B3-009F-48DD-8B2C-089ACB7880C1}" type="presOf" srcId="{F888B903-1118-4981-9223-1F7F89F14F85}" destId="{D21FC519-3277-4B7B-AA79-AE8CBDDDCE1D}" srcOrd="0" destOrd="0" presId="urn:microsoft.com/office/officeart/2005/8/layout/lProcess2"/>
    <dgm:cxn modelId="{E39064D8-8855-4A0B-AD28-52F80E751C34}" type="presParOf" srcId="{178B5215-42C2-4723-8E15-940459692EB7}" destId="{29B8E60B-4773-4D64-AF29-5B582CCAB1CF}" srcOrd="0" destOrd="0" presId="urn:microsoft.com/office/officeart/2005/8/layout/lProcess2"/>
    <dgm:cxn modelId="{E2C233FF-D8B6-468F-9F33-2A454914E74C}" type="presParOf" srcId="{29B8E60B-4773-4D64-AF29-5B582CCAB1CF}" destId="{CADAE698-6E78-43D1-9E61-4146CDA244B7}" srcOrd="0" destOrd="0" presId="urn:microsoft.com/office/officeart/2005/8/layout/lProcess2"/>
    <dgm:cxn modelId="{550D4601-C0E6-44CF-9AA1-F39705E560B4}" type="presParOf" srcId="{29B8E60B-4773-4D64-AF29-5B582CCAB1CF}" destId="{303E1A85-0B17-41D3-B950-F30358AD83B3}" srcOrd="1" destOrd="0" presId="urn:microsoft.com/office/officeart/2005/8/layout/lProcess2"/>
    <dgm:cxn modelId="{40A8F8A7-1D17-41A7-8198-8DA7FDDCBA21}" type="presParOf" srcId="{29B8E60B-4773-4D64-AF29-5B582CCAB1CF}" destId="{14871D16-DE68-465E-8620-8BFBF89BB5BD}" srcOrd="2" destOrd="0" presId="urn:microsoft.com/office/officeart/2005/8/layout/lProcess2"/>
    <dgm:cxn modelId="{6E39800E-7E07-4EF0-B805-73448B7307CD}" type="presParOf" srcId="{14871D16-DE68-465E-8620-8BFBF89BB5BD}" destId="{260B8538-1749-4586-A35B-6F0C83948D4D}" srcOrd="0" destOrd="0" presId="urn:microsoft.com/office/officeart/2005/8/layout/lProcess2"/>
    <dgm:cxn modelId="{604A29A3-3377-4B7C-B299-9EB10F738929}"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custT="1"/>
      <dgm:spPr/>
      <dgm:t>
        <a:bodyPr/>
        <a:lstStyle/>
        <a:p>
          <a:r>
            <a:rPr lang="en-US" sz="2000" b="1" dirty="0" smtClean="0"/>
            <a:t>Hipchat </a:t>
          </a:r>
        </a:p>
        <a:p>
          <a:r>
            <a:rPr lang="en-US" sz="2000" b="1" dirty="0" smtClean="0"/>
            <a:t>IRC </a:t>
          </a:r>
        </a:p>
        <a:p>
          <a:r>
            <a:rPr lang="en-US" sz="2000" b="1" dirty="0" smtClean="0"/>
            <a:t>Twitter </a:t>
          </a:r>
        </a:p>
        <a:p>
          <a:r>
            <a:rPr lang="en-US" sz="2000" b="1" dirty="0" smtClean="0"/>
            <a:t>Jabber </a:t>
          </a:r>
          <a:endParaRPr lang="en-US" sz="2000"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836BC548-E9B9-4F05-8B73-D4F7222321BF}" type="presOf" srcId="{F888B903-1118-4981-9223-1F7F89F14F85}" destId="{D21FC519-3277-4B7B-AA79-AE8CBDDDCE1D}"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1081470B-FE8B-4CA6-8A77-A35D50460539}" type="presOf" srcId="{A40588F7-61C1-43CC-9C09-343A277F6795}" destId="{CADAE698-6E78-43D1-9E61-4146CDA244B7}" srcOrd="0" destOrd="0" presId="urn:microsoft.com/office/officeart/2005/8/layout/lProcess2"/>
    <dgm:cxn modelId="{732DFB89-4C9B-4467-8B34-A0D540A0AEC0}" type="presOf" srcId="{A40588F7-61C1-43CC-9C09-343A277F6795}" destId="{303E1A85-0B17-41D3-B950-F30358AD83B3}" srcOrd="1"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3DF91362-29D8-481C-82E9-F16180282DAF}" type="presOf" srcId="{FA5B09D0-B02E-47BD-A2CC-15F791D99FA8}" destId="{178B5215-42C2-4723-8E15-940459692EB7}" srcOrd="0" destOrd="0" presId="urn:microsoft.com/office/officeart/2005/8/layout/lProcess2"/>
    <dgm:cxn modelId="{D4E300B3-0AD6-4BBE-81ED-3DF7281B9626}" type="presParOf" srcId="{178B5215-42C2-4723-8E15-940459692EB7}" destId="{29B8E60B-4773-4D64-AF29-5B582CCAB1CF}" srcOrd="0" destOrd="0" presId="urn:microsoft.com/office/officeart/2005/8/layout/lProcess2"/>
    <dgm:cxn modelId="{5774C81C-2FE7-4A86-ADCC-B6358C9A98CF}" type="presParOf" srcId="{29B8E60B-4773-4D64-AF29-5B582CCAB1CF}" destId="{CADAE698-6E78-43D1-9E61-4146CDA244B7}" srcOrd="0" destOrd="0" presId="urn:microsoft.com/office/officeart/2005/8/layout/lProcess2"/>
    <dgm:cxn modelId="{01FFC6E0-1F60-445D-AFBD-45D208106C38}" type="presParOf" srcId="{29B8E60B-4773-4D64-AF29-5B582CCAB1CF}" destId="{303E1A85-0B17-41D3-B950-F30358AD83B3}" srcOrd="1" destOrd="0" presId="urn:microsoft.com/office/officeart/2005/8/layout/lProcess2"/>
    <dgm:cxn modelId="{304ED8CE-CE9A-4FDB-8025-C281188941FC}" type="presParOf" srcId="{29B8E60B-4773-4D64-AF29-5B582CCAB1CF}" destId="{14871D16-DE68-465E-8620-8BFBF89BB5BD}" srcOrd="2" destOrd="0" presId="urn:microsoft.com/office/officeart/2005/8/layout/lProcess2"/>
    <dgm:cxn modelId="{0078EBEB-3A83-477C-B643-A4B2B6A4AAF7}" type="presParOf" srcId="{14871D16-DE68-465E-8620-8BFBF89BB5BD}" destId="{260B8538-1749-4586-A35B-6F0C83948D4D}" srcOrd="0" destOrd="0" presId="urn:microsoft.com/office/officeart/2005/8/layout/lProcess2"/>
    <dgm:cxn modelId="{B5612FB1-78AB-4966-8247-9A278CE5F794}"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CC761-9441-43D7-8A85-9F9CE4D253FA}">
      <dsp:nvSpPr>
        <dsp:cNvPr id="0" name=""/>
        <dsp:cNvSpPr/>
      </dsp:nvSpPr>
      <dsp:spPr>
        <a:xfrm>
          <a:off x="0" y="79871"/>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Based Java Tool</a:t>
          </a:r>
          <a:endParaRPr lang="en-US" sz="2000" kern="1200" dirty="0"/>
        </a:p>
      </dsp:txBody>
      <dsp:txXfrm>
        <a:off x="59399" y="139270"/>
        <a:ext cx="3516995" cy="1098002"/>
      </dsp:txXfrm>
    </dsp:sp>
    <dsp:sp modelId="{054509CB-1364-49EF-9F58-D56FA42AD00B}">
      <dsp:nvSpPr>
        <dsp:cNvPr id="0" name=""/>
        <dsp:cNvSpPr/>
      </dsp:nvSpPr>
      <dsp:spPr>
        <a:xfrm>
          <a:off x="0" y="1477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Open Source</a:t>
          </a:r>
          <a:endParaRPr lang="en-US" sz="2000" kern="1200" dirty="0"/>
        </a:p>
      </dsp:txBody>
      <dsp:txXfrm>
        <a:off x="59399" y="1537332"/>
        <a:ext cx="3516995" cy="1098002"/>
      </dsp:txXfrm>
    </dsp:sp>
    <dsp:sp modelId="{D5A187E9-5879-4DF8-BBB3-3335B545CAF7}">
      <dsp:nvSpPr>
        <dsp:cNvPr id="0" name=""/>
        <dsp:cNvSpPr/>
      </dsp:nvSpPr>
      <dsp:spPr>
        <a:xfrm>
          <a:off x="0" y="2881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Highly Extensible</a:t>
          </a:r>
          <a:endParaRPr lang="en-US" sz="2000" kern="1200" dirty="0"/>
        </a:p>
      </dsp:txBody>
      <dsp:txXfrm>
        <a:off x="59399" y="2941332"/>
        <a:ext cx="3516995" cy="1098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bertura </a:t>
          </a:r>
          <a:endParaRPr lang="en-US" sz="2000" kern="1200" dirty="0"/>
        </a:p>
        <a:p>
          <a:pPr marL="228600" lvl="1" indent="-228600" algn="l" defTabSz="889000">
            <a:lnSpc>
              <a:spcPct val="90000"/>
            </a:lnSpc>
            <a:spcBef>
              <a:spcPct val="0"/>
            </a:spcBef>
            <a:spcAft>
              <a:spcPct val="15000"/>
            </a:spcAft>
            <a:buChar char="••"/>
          </a:pPr>
          <a:r>
            <a:rPr lang="en-US" sz="2000" b="1" kern="1200" dirty="0" smtClean="0"/>
            <a:t>Findbugs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MSTest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NCover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MD</a:t>
          </a:r>
          <a:endParaRPr lang="en-US" sz="2000"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EADA3-C7A8-4C3E-87BD-7CD8DA87C54F}">
      <dsp:nvSpPr>
        <dsp:cNvPr id="0" name=""/>
        <dsp:cNvSpPr/>
      </dsp:nvSpPr>
      <dsp:spPr>
        <a:xfrm>
          <a:off x="0" y="0"/>
          <a:ext cx="5553841"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753426"/>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rtifact deployer </a:t>
          </a:r>
          <a:endParaRPr lang="en-US" sz="2000" kern="1200" dirty="0"/>
        </a:p>
      </dsp:txBody>
      <dsp:txXfrm>
        <a:off x="567764" y="765806"/>
        <a:ext cx="4418312" cy="397932"/>
      </dsp:txXfrm>
    </dsp:sp>
    <dsp:sp modelId="{0EB0E548-E485-4EB9-B0C1-2F9E52C47E2F}">
      <dsp:nvSpPr>
        <dsp:cNvPr id="0" name=""/>
        <dsp:cNvSpPr/>
      </dsp:nvSpPr>
      <dsp:spPr>
        <a:xfrm>
          <a:off x="555384" y="1241148"/>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 </a:t>
          </a:r>
          <a:endParaRPr lang="en-US" sz="2000" kern="1200" dirty="0"/>
        </a:p>
      </dsp:txBody>
      <dsp:txXfrm>
        <a:off x="567764" y="1253528"/>
        <a:ext cx="4418312" cy="397932"/>
      </dsp:txXfrm>
    </dsp:sp>
    <dsp:sp modelId="{99AC6874-402E-4103-9065-F8FDD2008E93}">
      <dsp:nvSpPr>
        <dsp:cNvPr id="0" name=""/>
        <dsp:cNvSpPr/>
      </dsp:nvSpPr>
      <dsp:spPr>
        <a:xfrm>
          <a:off x="555384" y="1728871"/>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huck Norris</a:t>
          </a:r>
          <a:endParaRPr lang="en-US" sz="2000" kern="1200" dirty="0"/>
        </a:p>
      </dsp:txBody>
      <dsp:txXfrm>
        <a:off x="567764" y="1741251"/>
        <a:ext cx="4418312" cy="397932"/>
      </dsp:txXfrm>
    </dsp:sp>
    <dsp:sp modelId="{39AC523B-E2B1-45A5-ADD0-CCFC848B699B}">
      <dsp:nvSpPr>
        <dsp:cNvPr id="0" name=""/>
        <dsp:cNvSpPr/>
      </dsp:nvSpPr>
      <dsp:spPr>
        <a:xfrm>
          <a:off x="555384" y="2216593"/>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Emotional Jenkins</a:t>
          </a:r>
          <a:endParaRPr lang="en-US" sz="2000" kern="1200" dirty="0"/>
        </a:p>
      </dsp:txBody>
      <dsp:txXfrm>
        <a:off x="567764" y="2228973"/>
        <a:ext cx="4418312" cy="397932"/>
      </dsp:txXfrm>
    </dsp:sp>
    <dsp:sp modelId="{D40E1E8F-8AD2-43DF-8483-2BC97B0A2D3C}">
      <dsp:nvSpPr>
        <dsp:cNvPr id="0" name=""/>
        <dsp:cNvSpPr/>
      </dsp:nvSpPr>
      <dsp:spPr>
        <a:xfrm>
          <a:off x="555384" y="2704315"/>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laim</a:t>
          </a:r>
          <a:endParaRPr lang="en-US" sz="2000" kern="1200" dirty="0"/>
        </a:p>
      </dsp:txBody>
      <dsp:txXfrm>
        <a:off x="567764" y="2716695"/>
        <a:ext cx="4418312" cy="397932"/>
      </dsp:txXfrm>
    </dsp:sp>
    <dsp:sp modelId="{35C1A440-9791-45B0-89C9-08498A069A7D}">
      <dsp:nvSpPr>
        <dsp:cNvPr id="0" name=""/>
        <dsp:cNvSpPr/>
      </dsp:nvSpPr>
      <dsp:spPr>
        <a:xfrm>
          <a:off x="555384" y="3192037"/>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I Game</a:t>
          </a:r>
          <a:endParaRPr lang="en-US" sz="2000" kern="1200" dirty="0"/>
        </a:p>
      </dsp:txBody>
      <dsp:txXfrm>
        <a:off x="567764" y="3204417"/>
        <a:ext cx="4418312" cy="39793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EADA3-C7A8-4C3E-87BD-7CD8DA87C54F}">
      <dsp:nvSpPr>
        <dsp:cNvPr id="0" name=""/>
        <dsp:cNvSpPr/>
      </dsp:nvSpPr>
      <dsp:spPr>
        <a:xfrm>
          <a:off x="0" y="0"/>
          <a:ext cx="5553841"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839395"/>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Unit Testing</a:t>
          </a:r>
          <a:endParaRPr lang="en-US" sz="2000" kern="1200" dirty="0"/>
        </a:p>
      </dsp:txBody>
      <dsp:txXfrm>
        <a:off x="565943" y="849954"/>
        <a:ext cx="4421954" cy="339393"/>
      </dsp:txXfrm>
    </dsp:sp>
    <dsp:sp modelId="{0EB0E548-E485-4EB9-B0C1-2F9E52C47E2F}">
      <dsp:nvSpPr>
        <dsp:cNvPr id="0" name=""/>
        <dsp:cNvSpPr/>
      </dsp:nvSpPr>
      <dsp:spPr>
        <a:xfrm>
          <a:off x="555384" y="1255370"/>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Test Coverage</a:t>
          </a:r>
          <a:endParaRPr lang="en-US" sz="2000" kern="1200" dirty="0"/>
        </a:p>
      </dsp:txBody>
      <dsp:txXfrm>
        <a:off x="565943" y="1265929"/>
        <a:ext cx="4421954" cy="339393"/>
      </dsp:txXfrm>
    </dsp:sp>
    <dsp:sp modelId="{99AC6874-402E-4103-9065-F8FDD2008E93}">
      <dsp:nvSpPr>
        <dsp:cNvPr id="0" name=""/>
        <dsp:cNvSpPr/>
      </dsp:nvSpPr>
      <dsp:spPr>
        <a:xfrm>
          <a:off x="555384" y="1671344"/>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cceptance Testing</a:t>
          </a:r>
          <a:endParaRPr lang="en-US" sz="2000" kern="1200" dirty="0"/>
        </a:p>
      </dsp:txBody>
      <dsp:txXfrm>
        <a:off x="565943" y="1681903"/>
        <a:ext cx="4421954" cy="339393"/>
      </dsp:txXfrm>
    </dsp:sp>
    <dsp:sp modelId="{39AC523B-E2B1-45A5-ADD0-CCFC848B699B}">
      <dsp:nvSpPr>
        <dsp:cNvPr id="0" name=""/>
        <dsp:cNvSpPr/>
      </dsp:nvSpPr>
      <dsp:spPr>
        <a:xfrm>
          <a:off x="555384" y="2087319"/>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ode Quality Metrics</a:t>
          </a:r>
          <a:endParaRPr lang="en-US" sz="2000" kern="1200" dirty="0"/>
        </a:p>
      </dsp:txBody>
      <dsp:txXfrm>
        <a:off x="565943" y="2097878"/>
        <a:ext cx="4421954" cy="339393"/>
      </dsp:txXfrm>
    </dsp:sp>
    <dsp:sp modelId="{D40E1E8F-8AD2-43DF-8483-2BC97B0A2D3C}">
      <dsp:nvSpPr>
        <dsp:cNvPr id="0" name=""/>
        <dsp:cNvSpPr/>
      </dsp:nvSpPr>
      <dsp:spPr>
        <a:xfrm>
          <a:off x="555384" y="250329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Notifications</a:t>
          </a:r>
          <a:endParaRPr lang="en-US" sz="2000" kern="1200" dirty="0"/>
        </a:p>
      </dsp:txBody>
      <dsp:txXfrm>
        <a:off x="565943" y="2513852"/>
        <a:ext cx="4421954" cy="339393"/>
      </dsp:txXfrm>
    </dsp:sp>
    <dsp:sp modelId="{35C1A440-9791-45B0-89C9-08498A069A7D}">
      <dsp:nvSpPr>
        <dsp:cNvPr id="0" name=""/>
        <dsp:cNvSpPr/>
      </dsp:nvSpPr>
      <dsp:spPr>
        <a:xfrm>
          <a:off x="555384" y="2919268"/>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ocumentation</a:t>
          </a:r>
          <a:endParaRPr lang="en-US" sz="2000" kern="1200" dirty="0"/>
        </a:p>
      </dsp:txBody>
      <dsp:txXfrm>
        <a:off x="565943" y="2929827"/>
        <a:ext cx="4421954" cy="339393"/>
      </dsp:txXfrm>
    </dsp:sp>
    <dsp:sp modelId="{8C1F1BD7-B63A-4DF5-B872-B74749B692F8}">
      <dsp:nvSpPr>
        <dsp:cNvPr id="0" name=""/>
        <dsp:cNvSpPr/>
      </dsp:nvSpPr>
      <dsp:spPr>
        <a:xfrm>
          <a:off x="555384" y="333524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ments</a:t>
          </a:r>
          <a:endParaRPr lang="en-US" sz="2000" kern="1200" dirty="0"/>
        </a:p>
      </dsp:txBody>
      <dsp:txXfrm>
        <a:off x="565943" y="3345802"/>
        <a:ext cx="4421954" cy="33939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Depends on source code being built </a:t>
          </a:r>
          <a:endParaRPr lang="en-US" sz="2000" kern="1200" dirty="0"/>
        </a:p>
        <a:p>
          <a:pPr marL="228600" lvl="1" indent="-228600" algn="l" defTabSz="889000">
            <a:lnSpc>
              <a:spcPct val="90000"/>
            </a:lnSpc>
            <a:spcBef>
              <a:spcPct val="0"/>
            </a:spcBef>
            <a:spcAft>
              <a:spcPct val="15000"/>
            </a:spcAft>
            <a:buChar char="••"/>
          </a:pPr>
          <a:r>
            <a:rPr lang="en-US" sz="2000" b="1" kern="1200" dirty="0" smtClean="0"/>
            <a:t>Never let them fail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unit size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short </a:t>
          </a:r>
          <a:endParaRPr lang="en-US" sz="2000" b="1"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verage doesn’t mean quality! </a:t>
          </a:r>
          <a:endParaRPr lang="en-US" sz="2000" kern="1200" dirty="0"/>
        </a:p>
        <a:p>
          <a:pPr marL="228600" lvl="1" indent="-228600" algn="l" defTabSz="889000">
            <a:lnSpc>
              <a:spcPct val="90000"/>
            </a:lnSpc>
            <a:spcBef>
              <a:spcPct val="0"/>
            </a:spcBef>
            <a:spcAft>
              <a:spcPct val="15000"/>
            </a:spcAft>
            <a:buChar char="••"/>
          </a:pPr>
          <a:r>
            <a:rPr lang="en-US" sz="2000" b="1" kern="1200" dirty="0" smtClean="0"/>
            <a:t>Perhaps fail the build.</a:t>
          </a:r>
          <a:endParaRPr lang="en-US" sz="2000"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CCCA4C-59AB-4BC6-9199-F32F598F5529}">
      <dsp:nvSpPr>
        <dsp:cNvPr id="0" name=""/>
        <dsp:cNvSpPr/>
      </dsp:nvSpPr>
      <dsp:spPr>
        <a:xfrm>
          <a:off x="0" y="22347"/>
          <a:ext cx="7508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Can be slow.</a:t>
          </a:r>
          <a:endParaRPr lang="en-US" sz="1800" kern="1200" dirty="0"/>
        </a:p>
      </dsp:txBody>
      <dsp:txXfrm>
        <a:off x="29243" y="51590"/>
        <a:ext cx="7450279" cy="540554"/>
      </dsp:txXfrm>
    </dsp:sp>
    <dsp:sp modelId="{9E9B2919-B761-4A74-8E54-8AEC3DF85B76}">
      <dsp:nvSpPr>
        <dsp:cNvPr id="0" name=""/>
        <dsp:cNvSpPr/>
      </dsp:nvSpPr>
      <dsp:spPr>
        <a:xfrm>
          <a:off x="0" y="713547"/>
          <a:ext cx="7508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Takes serious effort.</a:t>
          </a:r>
          <a:endParaRPr lang="en-US" sz="1800" kern="1200" dirty="0"/>
        </a:p>
      </dsp:txBody>
      <dsp:txXfrm>
        <a:off x="29243" y="742790"/>
        <a:ext cx="7450279" cy="540554"/>
      </dsp:txXfrm>
    </dsp:sp>
    <dsp:sp modelId="{5B496C04-7A0C-4D8B-8244-8575B4F9D288}">
      <dsp:nvSpPr>
        <dsp:cNvPr id="0" name=""/>
        <dsp:cNvSpPr/>
      </dsp:nvSpPr>
      <dsp:spPr>
        <a:xfrm>
          <a:off x="0" y="1404747"/>
          <a:ext cx="7508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Blog series:</a:t>
          </a:r>
          <a:endParaRPr lang="en-US" sz="1800" b="1" kern="1200" dirty="0"/>
        </a:p>
      </dsp:txBody>
      <dsp:txXfrm>
        <a:off x="29243" y="1433990"/>
        <a:ext cx="7450279" cy="540554"/>
      </dsp:txXfrm>
    </dsp:sp>
    <dsp:sp modelId="{201EAAEF-B0B8-4851-9D09-70689594ED0F}">
      <dsp:nvSpPr>
        <dsp:cNvPr id="0" name=""/>
        <dsp:cNvSpPr/>
      </dsp:nvSpPr>
      <dsp:spPr>
        <a:xfrm>
          <a:off x="0" y="2026135"/>
          <a:ext cx="7508765" cy="529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403"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b="1" kern="1200" dirty="0" smtClean="0"/>
            <a:t>http://simpleprogrammer.com/getting-up-to-bat-series/ </a:t>
          </a:r>
          <a:endParaRPr lang="en-US" sz="1800" b="1" kern="1200" dirty="0"/>
        </a:p>
      </dsp:txBody>
      <dsp:txXfrm>
        <a:off x="0" y="2026135"/>
        <a:ext cx="7508765" cy="52992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0A8811-A348-4284-A30C-2A9818F77475}">
      <dsp:nvSpPr>
        <dsp:cNvPr id="0" name=""/>
        <dsp:cNvSpPr/>
      </dsp:nvSpPr>
      <dsp:spPr>
        <a:xfrm>
          <a:off x="0" y="2203"/>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tatic Analysis</a:t>
          </a:r>
          <a:endParaRPr lang="en-US" sz="2000" kern="1200" dirty="0"/>
        </a:p>
      </dsp:txBody>
      <dsp:txXfrm>
        <a:off x="51736" y="53939"/>
        <a:ext cx="2273968" cy="956349"/>
      </dsp:txXfrm>
    </dsp:sp>
    <dsp:sp modelId="{4331C456-DB02-4EEA-AD72-E44014830830}">
      <dsp:nvSpPr>
        <dsp:cNvPr id="0" name=""/>
        <dsp:cNvSpPr/>
      </dsp:nvSpPr>
      <dsp:spPr>
        <a:xfrm rot="5400000">
          <a:off x="4066791" y="-46835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PMD </a:t>
          </a:r>
          <a:endParaRPr lang="en-US" sz="2000" kern="1200" dirty="0"/>
        </a:p>
        <a:p>
          <a:pPr marL="228600" lvl="1" indent="-228600" algn="l" defTabSz="889000">
            <a:lnSpc>
              <a:spcPct val="90000"/>
            </a:lnSpc>
            <a:spcBef>
              <a:spcPct val="0"/>
            </a:spcBef>
            <a:spcAft>
              <a:spcPct val="15000"/>
            </a:spcAft>
            <a:buChar char="••"/>
          </a:pPr>
          <a:r>
            <a:rPr lang="en-US" sz="2000" kern="1200" dirty="0" smtClean="0"/>
            <a:t>FindBugs </a:t>
          </a:r>
          <a:endParaRPr lang="en-US" sz="2000" kern="1200" dirty="0"/>
        </a:p>
      </dsp:txBody>
      <dsp:txXfrm rot="-5400000">
        <a:off x="2377440" y="1262388"/>
        <a:ext cx="4185171" cy="765079"/>
      </dsp:txXfrm>
    </dsp:sp>
    <dsp:sp modelId="{C176F13A-B990-4CD2-90D9-A16EB439FE69}">
      <dsp:nvSpPr>
        <dsp:cNvPr id="0" name=""/>
        <dsp:cNvSpPr/>
      </dsp:nvSpPr>
      <dsp:spPr>
        <a:xfrm>
          <a:off x="0" y="1115016"/>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Java Tools</a:t>
          </a:r>
          <a:endParaRPr lang="en-US" sz="2000" kern="1200" dirty="0"/>
        </a:p>
      </dsp:txBody>
      <dsp:txXfrm>
        <a:off x="51736" y="1166752"/>
        <a:ext cx="2273968" cy="956349"/>
      </dsp:txXfrm>
    </dsp:sp>
    <dsp:sp modelId="{F16F2CA6-CE2C-40AA-97DA-9CFE85AFDD86}">
      <dsp:nvSpPr>
        <dsp:cNvPr id="0" name=""/>
        <dsp:cNvSpPr/>
      </dsp:nvSpPr>
      <dsp:spPr>
        <a:xfrm rot="5400000">
          <a:off x="4066791" y="644459"/>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FxCop </a:t>
          </a:r>
          <a:endParaRPr lang="en-US" sz="2000" kern="1200" dirty="0"/>
        </a:p>
        <a:p>
          <a:pPr marL="228600" lvl="1" indent="-228600" algn="l" defTabSz="889000">
            <a:lnSpc>
              <a:spcPct val="90000"/>
            </a:lnSpc>
            <a:spcBef>
              <a:spcPct val="0"/>
            </a:spcBef>
            <a:spcAft>
              <a:spcPct val="15000"/>
            </a:spcAft>
            <a:buChar char="••"/>
          </a:pPr>
          <a:r>
            <a:rPr lang="en-US" sz="2000" kern="1200" dirty="0" smtClean="0"/>
            <a:t>StyleCop</a:t>
          </a:r>
          <a:endParaRPr lang="en-US" sz="2000" kern="1200" dirty="0"/>
        </a:p>
      </dsp:txBody>
      <dsp:txXfrm rot="-5400000">
        <a:off x="2377440" y="2375200"/>
        <a:ext cx="4185171" cy="765079"/>
      </dsp:txXfrm>
    </dsp:sp>
    <dsp:sp modelId="{5AC42099-5D21-46F9-8CC4-0B9EB9A7397E}">
      <dsp:nvSpPr>
        <dsp:cNvPr id="0" name=""/>
        <dsp:cNvSpPr/>
      </dsp:nvSpPr>
      <dsp:spPr>
        <a:xfrm>
          <a:off x="0" y="2227829"/>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NET Tools</a:t>
          </a:r>
          <a:endParaRPr lang="en-US" sz="2000" kern="1200" dirty="0"/>
        </a:p>
      </dsp:txBody>
      <dsp:txXfrm>
        <a:off x="51736" y="2279565"/>
        <a:ext cx="2273968" cy="956349"/>
      </dsp:txXfrm>
    </dsp:sp>
    <dsp:sp modelId="{BD7B85D9-73B5-45F3-A74D-DFDDDB957896}">
      <dsp:nvSpPr>
        <dsp:cNvPr id="0" name=""/>
        <dsp:cNvSpPr/>
      </dsp:nvSpPr>
      <dsp:spPr>
        <a:xfrm rot="5400000">
          <a:off x="4066791" y="175727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Things should not get worse.</a:t>
          </a:r>
          <a:endParaRPr lang="en-US" sz="2000" kern="1200" dirty="0"/>
        </a:p>
      </dsp:txBody>
      <dsp:txXfrm rot="-5400000">
        <a:off x="2377440" y="3488013"/>
        <a:ext cx="4185171" cy="765079"/>
      </dsp:txXfrm>
    </dsp:sp>
    <dsp:sp modelId="{3C419706-DD53-457D-B0E4-EDF4AA5A9AB9}">
      <dsp:nvSpPr>
        <dsp:cNvPr id="0" name=""/>
        <dsp:cNvSpPr/>
      </dsp:nvSpPr>
      <dsp:spPr>
        <a:xfrm>
          <a:off x="0" y="3340641"/>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et a threshold</a:t>
          </a:r>
          <a:endParaRPr lang="en-US" sz="2000" kern="1200" dirty="0"/>
        </a:p>
      </dsp:txBody>
      <dsp:txXfrm>
        <a:off x="51736" y="3392377"/>
        <a:ext cx="2273968" cy="95634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Make failures known </a:t>
          </a:r>
          <a:endParaRPr lang="en-US" sz="2000" kern="1200" dirty="0"/>
        </a:p>
        <a:p>
          <a:pPr marL="285750" lvl="1" indent="-285750" algn="l" defTabSz="1600200">
            <a:lnSpc>
              <a:spcPct val="90000"/>
            </a:lnSpc>
            <a:spcBef>
              <a:spcPct val="0"/>
            </a:spcBef>
            <a:spcAft>
              <a:spcPct val="15000"/>
            </a:spcAft>
            <a:buChar char="••"/>
          </a:pPr>
          <a:r>
            <a:rPr lang="en-US" sz="3600" b="1" kern="1200" dirty="0" smtClean="0"/>
            <a:t>Don’t false fail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Multiple channels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Analyze failures</a:t>
          </a:r>
          <a:endParaRPr lang="en-US" sz="3600"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Source code doc generators </a:t>
          </a:r>
          <a:endParaRPr lang="en-US" sz="2000" kern="1200" dirty="0"/>
        </a:p>
        <a:p>
          <a:pPr marL="228600" lvl="1" indent="-228600" algn="l" defTabSz="889000">
            <a:lnSpc>
              <a:spcPct val="90000"/>
            </a:lnSpc>
            <a:spcBef>
              <a:spcPct val="0"/>
            </a:spcBef>
            <a:spcAft>
              <a:spcPct val="15000"/>
            </a:spcAft>
            <a:buChar char="••"/>
          </a:pPr>
          <a:r>
            <a:rPr lang="en-US" sz="2000" b="1" kern="1200" dirty="0" smtClean="0"/>
            <a:t>Help file generation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API documentation</a:t>
          </a:r>
          <a:endParaRPr lang="en-US" sz="2000" b="1"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C17D73-3F58-4799-BE27-0C2DE499ED0E}">
      <dsp:nvSpPr>
        <dsp:cNvPr id="0" name=""/>
        <dsp:cNvSpPr/>
      </dsp:nvSpPr>
      <dsp:spPr>
        <a:xfrm>
          <a:off x="0" y="0"/>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Jenkins is great for deploying</a:t>
          </a:r>
          <a:endParaRPr lang="en-US" sz="1800" kern="1200" dirty="0"/>
        </a:p>
      </dsp:txBody>
      <dsp:txXfrm>
        <a:off x="37467" y="37467"/>
        <a:ext cx="5444332" cy="692586"/>
      </dsp:txXfrm>
    </dsp:sp>
    <dsp:sp modelId="{3DCE55DA-4D64-4568-9CE7-5E1F52C4E623}">
      <dsp:nvSpPr>
        <dsp:cNvPr id="0" name=""/>
        <dsp:cNvSpPr/>
      </dsp:nvSpPr>
      <dsp:spPr>
        <a:xfrm>
          <a:off x="0" y="877792"/>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Periodic deployments</a:t>
          </a:r>
          <a:endParaRPr lang="en-US" sz="1800" kern="1200" dirty="0"/>
        </a:p>
      </dsp:txBody>
      <dsp:txXfrm>
        <a:off x="37467" y="915259"/>
        <a:ext cx="5444332" cy="692586"/>
      </dsp:txXfrm>
    </dsp:sp>
    <dsp:sp modelId="{641804CF-FB99-4767-9D87-C7B30A8113A6}">
      <dsp:nvSpPr>
        <dsp:cNvPr id="0" name=""/>
        <dsp:cNvSpPr/>
      </dsp:nvSpPr>
      <dsp:spPr>
        <a:xfrm>
          <a:off x="0" y="1755164"/>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anual deployments</a:t>
          </a:r>
          <a:endParaRPr lang="en-US" sz="1800" kern="1200" dirty="0"/>
        </a:p>
      </dsp:txBody>
      <dsp:txXfrm>
        <a:off x="37467" y="1792631"/>
        <a:ext cx="5444332" cy="692586"/>
      </dsp:txXfrm>
    </dsp:sp>
    <dsp:sp modelId="{ECDA6BE7-69E1-448A-B120-3A1C65754CF3}">
      <dsp:nvSpPr>
        <dsp:cNvPr id="0" name=""/>
        <dsp:cNvSpPr/>
      </dsp:nvSpPr>
      <dsp:spPr>
        <a:xfrm>
          <a:off x="0" y="2622769"/>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Reporting built in</a:t>
          </a:r>
          <a:endParaRPr lang="en-US" sz="1800" kern="1200" dirty="0"/>
        </a:p>
      </dsp:txBody>
      <dsp:txXfrm>
        <a:off x="37467" y="2660236"/>
        <a:ext cx="5444332" cy="6925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710EDA-227B-4013-B698-AE023023F29A}">
      <dsp:nvSpPr>
        <dsp:cNvPr id="0" name=""/>
        <dsp:cNvSpPr/>
      </dsp:nvSpPr>
      <dsp:spPr>
        <a:xfrm>
          <a:off x="0" y="931515"/>
          <a:ext cx="6641663" cy="3731904"/>
        </a:xfrm>
        <a:prstGeom prst="rect">
          <a:avLst/>
        </a:prstGeom>
        <a:blipFill rotWithShape="0">
          <a:blip xmlns:r="http://schemas.openxmlformats.org/officeDocument/2006/relationships" r:embed="rId1"/>
          <a:stretch>
            <a:fillRect/>
          </a:stretch>
        </a:blip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0F5514-5FAF-41D3-B463-67ACE710A63B}">
      <dsp:nvSpPr>
        <dsp:cNvPr id="0" name=""/>
        <dsp:cNvSpPr/>
      </dsp:nvSpPr>
      <dsp:spPr>
        <a:xfrm>
          <a:off x="94251" y="307483"/>
          <a:ext cx="4649164" cy="60000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727" tIns="0" rIns="175727" bIns="0" numCol="1" spcCol="1270" anchor="ctr" anchorCtr="0">
          <a:noAutofit/>
        </a:bodyPr>
        <a:lstStyle/>
        <a:p>
          <a:pPr lvl="0" algn="l" defTabSz="889000">
            <a:lnSpc>
              <a:spcPct val="90000"/>
            </a:lnSpc>
            <a:spcBef>
              <a:spcPct val="0"/>
            </a:spcBef>
            <a:spcAft>
              <a:spcPct val="35000"/>
            </a:spcAft>
          </a:pPr>
          <a:r>
            <a:rPr lang="en-US" sz="2000" b="1" kern="1200" dirty="0" smtClean="0"/>
            <a:t>Integration is painful!</a:t>
          </a:r>
          <a:endParaRPr lang="en-US" sz="2000" b="1" kern="1200" dirty="0"/>
        </a:p>
      </dsp:txBody>
      <dsp:txXfrm>
        <a:off x="123541" y="336773"/>
        <a:ext cx="4590584" cy="5414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AA7F8B-3773-402F-8FB3-C367FF98C83F}">
      <dsp:nvSpPr>
        <dsp:cNvPr id="0" name=""/>
        <dsp:cNvSpPr/>
      </dsp:nvSpPr>
      <dsp:spPr>
        <a:xfrm>
          <a:off x="0" y="188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1.5 or higher</a:t>
          </a:r>
          <a:endParaRPr lang="en-US" sz="2000" kern="1200" dirty="0"/>
        </a:p>
      </dsp:txBody>
      <dsp:txXfrm>
        <a:off x="59399" y="248332"/>
        <a:ext cx="4489112" cy="1098002"/>
      </dsp:txXfrm>
    </dsp:sp>
    <dsp:sp modelId="{DDC8DA12-A4E2-488D-9791-F75C959C254D}">
      <dsp:nvSpPr>
        <dsp:cNvPr id="0" name=""/>
        <dsp:cNvSpPr/>
      </dsp:nvSpPr>
      <dsp:spPr>
        <a:xfrm>
          <a:off x="0" y="1592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in your path (optional, but preferred) </a:t>
          </a:r>
          <a:endParaRPr lang="en-US" sz="2000" kern="1200" dirty="0"/>
        </a:p>
      </dsp:txBody>
      <dsp:txXfrm>
        <a:off x="59399" y="1652332"/>
        <a:ext cx="4489112" cy="1098002"/>
      </dsp:txXfrm>
    </dsp:sp>
    <dsp:sp modelId="{6F22FE07-C0A1-4F8A-BB80-174D5537BDDD}">
      <dsp:nvSpPr>
        <dsp:cNvPr id="0" name=""/>
        <dsp:cNvSpPr/>
      </dsp:nvSpPr>
      <dsp:spPr>
        <a:xfrm>
          <a:off x="0" y="2996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server (only if you want to host outside of Jenkins) </a:t>
          </a:r>
          <a:endParaRPr lang="en-US" sz="2000" kern="1200" dirty="0"/>
        </a:p>
      </dsp:txBody>
      <dsp:txXfrm>
        <a:off x="59399" y="3056332"/>
        <a:ext cx="4489112" cy="10980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A8DCB2-270A-4852-866F-030371BA5DB0}">
      <dsp:nvSpPr>
        <dsp:cNvPr id="0" name=""/>
        <dsp:cNvSpPr/>
      </dsp:nvSpPr>
      <dsp:spPr>
        <a:xfrm>
          <a:off x="0" y="463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Diagram manual process.</a:t>
          </a:r>
          <a:endParaRPr lang="en-US" sz="2000" kern="1200" dirty="0"/>
        </a:p>
      </dsp:txBody>
      <dsp:txXfrm>
        <a:off x="37467" y="83840"/>
        <a:ext cx="6529066" cy="692586"/>
      </dsp:txXfrm>
    </dsp:sp>
    <dsp:sp modelId="{2E653FC5-7CD5-4B7E-ABB8-638A7BBF567D}">
      <dsp:nvSpPr>
        <dsp:cNvPr id="0" name=""/>
        <dsp:cNvSpPr/>
      </dsp:nvSpPr>
      <dsp:spPr>
        <a:xfrm>
          <a:off x="0" y="9319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Follow manual steps.</a:t>
          </a:r>
          <a:endParaRPr lang="en-US" sz="2000" kern="1200" dirty="0"/>
        </a:p>
      </dsp:txBody>
      <dsp:txXfrm>
        <a:off x="37467" y="969440"/>
        <a:ext cx="6529066" cy="692586"/>
      </dsp:txXfrm>
    </dsp:sp>
    <dsp:sp modelId="{CF9F3747-4F90-453F-87DA-09CC96322CF3}">
      <dsp:nvSpPr>
        <dsp:cNvPr id="0" name=""/>
        <dsp:cNvSpPr/>
      </dsp:nvSpPr>
      <dsp:spPr>
        <a:xfrm>
          <a:off x="0" y="18175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Get most basic automation working.</a:t>
          </a:r>
          <a:endParaRPr lang="en-US" sz="2000" kern="1200" dirty="0"/>
        </a:p>
      </dsp:txBody>
      <dsp:txXfrm>
        <a:off x="37467" y="1855040"/>
        <a:ext cx="6529066" cy="692586"/>
      </dsp:txXfrm>
    </dsp:sp>
    <dsp:sp modelId="{D331D30E-31B5-42D0-B52D-E7D105D97027}">
      <dsp:nvSpPr>
        <dsp:cNvPr id="0" name=""/>
        <dsp:cNvSpPr/>
      </dsp:nvSpPr>
      <dsp:spPr>
        <a:xfrm>
          <a:off x="0" y="27031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dd each step.</a:t>
          </a:r>
          <a:endParaRPr lang="en-US" sz="2000" kern="1200" dirty="0"/>
        </a:p>
      </dsp:txBody>
      <dsp:txXfrm>
        <a:off x="37467" y="2740640"/>
        <a:ext cx="6529066" cy="692586"/>
      </dsp:txXfrm>
    </dsp:sp>
    <dsp:sp modelId="{7592715D-AE43-4631-9B26-B01D0C596EED}">
      <dsp:nvSpPr>
        <dsp:cNvPr id="0" name=""/>
        <dsp:cNvSpPr/>
      </dsp:nvSpPr>
      <dsp:spPr>
        <a:xfrm>
          <a:off x="0" y="35887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Never leave the build in a failed state.</a:t>
          </a:r>
          <a:endParaRPr lang="en-US" sz="2000" kern="1200" dirty="0"/>
        </a:p>
      </dsp:txBody>
      <dsp:txXfrm>
        <a:off x="37467" y="3626240"/>
        <a:ext cx="6529066" cy="69258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0" y="0"/>
          <a:ext cx="6604000"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Git </a:t>
          </a:r>
        </a:p>
        <a:p>
          <a:pPr lvl="0" algn="ctr" defTabSz="1022350">
            <a:lnSpc>
              <a:spcPct val="90000"/>
            </a:lnSpc>
            <a:spcBef>
              <a:spcPct val="0"/>
            </a:spcBef>
            <a:spcAft>
              <a:spcPct val="35000"/>
            </a:spcAft>
          </a:pPr>
          <a:r>
            <a:rPr lang="en-US" sz="2300" b="1" kern="1200" dirty="0" smtClean="0"/>
            <a:t>Mercurial </a:t>
          </a:r>
          <a:endParaRPr lang="en-US" sz="2300" b="1" kern="1200" dirty="0" smtClean="0"/>
        </a:p>
        <a:p>
          <a:pPr lvl="0" algn="ctr" defTabSz="1022350">
            <a:lnSpc>
              <a:spcPct val="90000"/>
            </a:lnSpc>
            <a:spcBef>
              <a:spcPct val="0"/>
            </a:spcBef>
            <a:spcAft>
              <a:spcPct val="35000"/>
            </a:spcAft>
          </a:pPr>
          <a:r>
            <a:rPr lang="en-US" sz="2300" b="1" kern="1200" dirty="0" smtClean="0"/>
            <a:t>TF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744217" y="1404617"/>
        <a:ext cx="5115566" cy="269409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0" y="0"/>
          <a:ext cx="6604000"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Github Pull Request </a:t>
          </a:r>
        </a:p>
        <a:p>
          <a:pPr lvl="0" algn="ctr" defTabSz="1022350">
            <a:lnSpc>
              <a:spcPct val="90000"/>
            </a:lnSpc>
            <a:spcBef>
              <a:spcPct val="0"/>
            </a:spcBef>
            <a:spcAft>
              <a:spcPct val="35000"/>
            </a:spcAft>
          </a:pPr>
          <a:r>
            <a:rPr lang="en-US" sz="2300" b="1" kern="1200" dirty="0" smtClean="0"/>
            <a:t>Join </a:t>
          </a:r>
        </a:p>
        <a:p>
          <a:pPr lvl="0" algn="ctr" defTabSz="1022350">
            <a:lnSpc>
              <a:spcPct val="90000"/>
            </a:lnSpc>
            <a:spcBef>
              <a:spcPct val="0"/>
            </a:spcBef>
            <a:spcAft>
              <a:spcPct val="35000"/>
            </a:spcAft>
          </a:pPr>
          <a:r>
            <a:rPr lang="en-US" sz="2300" b="1" kern="1200" dirty="0" smtClean="0"/>
            <a:t>Locks and Latche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744217" y="1404617"/>
        <a:ext cx="5115566" cy="269409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3722704"/>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py artifacts </a:t>
          </a:r>
          <a:endParaRPr lang="en-US" sz="2000" kern="1200" dirty="0"/>
        </a:p>
        <a:p>
          <a:pPr marL="228600" lvl="1" indent="-228600" algn="l" defTabSz="889000">
            <a:lnSpc>
              <a:spcPct val="90000"/>
            </a:lnSpc>
            <a:spcBef>
              <a:spcPct val="0"/>
            </a:spcBef>
            <a:spcAft>
              <a:spcPct val="15000"/>
            </a:spcAft>
            <a:buChar char="••"/>
          </a:pPr>
          <a:r>
            <a:rPr lang="en-US" sz="2000" b="1" kern="1200" dirty="0" smtClean="0"/>
            <a:t>Fitness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MSBuild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MSTest Runner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NAnt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owershell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romoted Builds </a:t>
          </a:r>
          <a:endParaRPr lang="en-US" sz="2000" b="1" kern="1200" dirty="0"/>
        </a:p>
      </dsp:txBody>
      <dsp:txXfrm>
        <a:off x="4717242" y="0"/>
        <a:ext cx="3291640" cy="3722704"/>
      </dsp:txXfrm>
    </dsp:sp>
    <dsp:sp modelId="{6DB07FC2-DB01-4F82-BC07-F35E7051AECE}">
      <dsp:nvSpPr>
        <dsp:cNvPr id="0" name=""/>
        <dsp:cNvSpPr/>
      </dsp:nvSpPr>
      <dsp:spPr>
        <a:xfrm>
          <a:off x="1229552" y="206997"/>
          <a:ext cx="3338278" cy="3308710"/>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0" y="0"/>
          <a:ext cx="6604000"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Selenium RC </a:t>
          </a:r>
        </a:p>
        <a:p>
          <a:pPr lvl="0" algn="ctr" defTabSz="1022350">
            <a:lnSpc>
              <a:spcPct val="90000"/>
            </a:lnSpc>
            <a:spcBef>
              <a:spcPct val="0"/>
            </a:spcBef>
            <a:spcAft>
              <a:spcPct val="35000"/>
            </a:spcAft>
          </a:pPr>
          <a:r>
            <a:rPr lang="en-US" sz="2300" b="1" kern="1200" dirty="0" smtClean="0"/>
            <a:t>VMWare </a:t>
          </a:r>
        </a:p>
        <a:p>
          <a:pPr lvl="0" algn="ctr" defTabSz="1022350">
            <a:lnSpc>
              <a:spcPct val="90000"/>
            </a:lnSpc>
            <a:spcBef>
              <a:spcPct val="0"/>
            </a:spcBef>
            <a:spcAft>
              <a:spcPct val="35000"/>
            </a:spcAft>
          </a:pPr>
          <a:r>
            <a:rPr lang="en-US" sz="2300" b="1" kern="1200" dirty="0" smtClean="0"/>
            <a:t>VirtualBox </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744217" y="1404617"/>
        <a:ext cx="5115566" cy="269409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2265" y="0"/>
          <a:ext cx="4634911" cy="4857823"/>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Hipchat </a:t>
          </a:r>
        </a:p>
        <a:p>
          <a:pPr lvl="0" algn="ctr" defTabSz="889000">
            <a:lnSpc>
              <a:spcPct val="90000"/>
            </a:lnSpc>
            <a:spcBef>
              <a:spcPct val="0"/>
            </a:spcBef>
            <a:spcAft>
              <a:spcPct val="35000"/>
            </a:spcAft>
          </a:pPr>
          <a:r>
            <a:rPr lang="en-US" sz="2000" b="1" kern="1200" dirty="0" smtClean="0"/>
            <a:t>IRC </a:t>
          </a:r>
        </a:p>
        <a:p>
          <a:pPr lvl="0" algn="ctr" defTabSz="889000">
            <a:lnSpc>
              <a:spcPct val="90000"/>
            </a:lnSpc>
            <a:spcBef>
              <a:spcPct val="0"/>
            </a:spcBef>
            <a:spcAft>
              <a:spcPct val="35000"/>
            </a:spcAft>
          </a:pPr>
          <a:r>
            <a:rPr lang="en-US" sz="2000" b="1" kern="1200" dirty="0" smtClean="0"/>
            <a:t>Twitter </a:t>
          </a:r>
        </a:p>
        <a:p>
          <a:pPr lvl="0" algn="ctr" defTabSz="889000">
            <a:lnSpc>
              <a:spcPct val="90000"/>
            </a:lnSpc>
            <a:spcBef>
              <a:spcPct val="0"/>
            </a:spcBef>
            <a:spcAft>
              <a:spcPct val="35000"/>
            </a:spcAft>
          </a:pPr>
          <a:r>
            <a:rPr lang="en-US" sz="2000" b="1" kern="1200" dirty="0" smtClean="0"/>
            <a:t>Jabber </a:t>
          </a:r>
          <a:endParaRPr lang="en-US" sz="2000" kern="1200" dirty="0"/>
        </a:p>
      </dsp:txBody>
      <dsp:txXfrm>
        <a:off x="2265" y="0"/>
        <a:ext cx="4634911" cy="1457346"/>
      </dsp:txXfrm>
    </dsp:sp>
    <dsp:sp modelId="{D21FC519-3277-4B7B-AA79-AE8CBDDDCE1D}">
      <dsp:nvSpPr>
        <dsp:cNvPr id="0" name=""/>
        <dsp:cNvSpPr/>
      </dsp:nvSpPr>
      <dsp:spPr>
        <a:xfrm>
          <a:off x="465756" y="1457346"/>
          <a:ext cx="3707929" cy="3157584"/>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558238" y="1549828"/>
        <a:ext cx="3522965" cy="29726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4#6">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4#7">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4#8">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4#9">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4#10">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4#5">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6</a:t>
            </a:fld>
            <a:endParaRPr lang="en-US" dirty="0">
              <a:solidFill>
                <a:prstClr val="black"/>
              </a:solidFill>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1</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6</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4.xml"/><Relationship Id="rId7" Type="http://schemas.openxmlformats.org/officeDocument/2006/relationships/oleObject" Target="../embeddings/oleObject79.bin"/><Relationship Id="rId2" Type="http://schemas.openxmlformats.org/officeDocument/2006/relationships/tags" Target="../tags/tag383.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6.xml"/><Relationship Id="rId4" Type="http://schemas.openxmlformats.org/officeDocument/2006/relationships/tags" Target="../tags/tag385.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74.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77.vml"/><Relationship Id="rId6" Type="http://schemas.openxmlformats.org/officeDocument/2006/relationships/tags" Target="../tags/tag407.xml"/><Relationship Id="rId11" Type="http://schemas.openxmlformats.org/officeDocument/2006/relationships/oleObject" Target="../embeddings/oleObject83.bin"/><Relationship Id="rId5" Type="http://schemas.openxmlformats.org/officeDocument/2006/relationships/tags" Target="../tags/tag406.xml"/><Relationship Id="rId10" Type="http://schemas.openxmlformats.org/officeDocument/2006/relationships/image" Target="../media/image3.jpeg"/><Relationship Id="rId4" Type="http://schemas.openxmlformats.org/officeDocument/2006/relationships/tags" Target="../tags/tag405.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5.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vmlDrawing" Target="../drawings/vmlDrawing78.vml"/><Relationship Id="rId6" Type="http://schemas.openxmlformats.org/officeDocument/2006/relationships/tags" Target="../tags/tag414.xml"/><Relationship Id="rId11" Type="http://schemas.openxmlformats.org/officeDocument/2006/relationships/oleObject" Target="../embeddings/oleObject84.bin"/><Relationship Id="rId5" Type="http://schemas.openxmlformats.org/officeDocument/2006/relationships/tags" Target="../tags/tag413.xml"/><Relationship Id="rId10" Type="http://schemas.openxmlformats.org/officeDocument/2006/relationships/image" Target="../media/image6.jpeg"/><Relationship Id="rId4" Type="http://schemas.openxmlformats.org/officeDocument/2006/relationships/tags" Target="../tags/tag412.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18.xml"/><Relationship Id="rId7" Type="http://schemas.openxmlformats.org/officeDocument/2006/relationships/image" Target="../media/image7.jpeg"/><Relationship Id="rId2" Type="http://schemas.openxmlformats.org/officeDocument/2006/relationships/tags" Target="../tags/tag417.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4.xml"/><Relationship Id="rId7" Type="http://schemas.openxmlformats.org/officeDocument/2006/relationships/oleObject" Target="../embeddings/oleObject87.bin"/><Relationship Id="rId2" Type="http://schemas.openxmlformats.org/officeDocument/2006/relationships/tags" Target="../tags/tag423.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26.xml"/><Relationship Id="rId4" Type="http://schemas.openxmlformats.org/officeDocument/2006/relationships/tags" Target="../tags/tag42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88.bin"/><Relationship Id="rId2" Type="http://schemas.openxmlformats.org/officeDocument/2006/relationships/tags" Target="../tags/tag427.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0.xml"/><Relationship Id="rId4" Type="http://schemas.openxmlformats.org/officeDocument/2006/relationships/tags" Target="../tags/tag429.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83.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emf"/><Relationship Id="rId4" Type="http://schemas.openxmlformats.org/officeDocument/2006/relationships/tags" Target="../tags/tag433.xml"/><Relationship Id="rId9" Type="http://schemas.openxmlformats.org/officeDocument/2006/relationships/oleObject" Target="../embeddings/oleObject8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9.xml"/><Relationship Id="rId7" Type="http://schemas.openxmlformats.org/officeDocument/2006/relationships/oleObject" Target="../embeddings/oleObject92.bin"/><Relationship Id="rId2" Type="http://schemas.openxmlformats.org/officeDocument/2006/relationships/tags" Target="../tags/tag448.xml"/><Relationship Id="rId1" Type="http://schemas.openxmlformats.org/officeDocument/2006/relationships/vmlDrawing" Target="../drawings/vmlDrawing86.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0.xml"/><Relationship Id="rId9"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image" Target="../media/image4.emf"/><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image" Target="../media/image1.emf"/><Relationship Id="rId2" Type="http://schemas.openxmlformats.org/officeDocument/2006/relationships/tags" Target="../tags/tag466.xml"/><Relationship Id="rId1" Type="http://schemas.openxmlformats.org/officeDocument/2006/relationships/vmlDrawing" Target="../drawings/vmlDrawing90.vml"/><Relationship Id="rId6" Type="http://schemas.openxmlformats.org/officeDocument/2006/relationships/tags" Target="../tags/tag470.xml"/><Relationship Id="rId11" Type="http://schemas.openxmlformats.org/officeDocument/2006/relationships/oleObject" Target="../embeddings/oleObject99.bin"/><Relationship Id="rId5" Type="http://schemas.openxmlformats.org/officeDocument/2006/relationships/tags" Target="../tags/tag469.xml"/><Relationship Id="rId10" Type="http://schemas.openxmlformats.org/officeDocument/2006/relationships/image" Target="../media/image3.jpeg"/><Relationship Id="rId4" Type="http://schemas.openxmlformats.org/officeDocument/2006/relationships/tags" Target="../tags/tag468.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479.xml"/><Relationship Id="rId13" Type="http://schemas.openxmlformats.org/officeDocument/2006/relationships/image" Target="../media/image5.png"/><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image" Target="../media/image1.emf"/><Relationship Id="rId2" Type="http://schemas.openxmlformats.org/officeDocument/2006/relationships/tags" Target="../tags/tag473.xml"/><Relationship Id="rId1" Type="http://schemas.openxmlformats.org/officeDocument/2006/relationships/vmlDrawing" Target="../drawings/vmlDrawing91.vml"/><Relationship Id="rId6" Type="http://schemas.openxmlformats.org/officeDocument/2006/relationships/tags" Target="../tags/tag477.xml"/><Relationship Id="rId11" Type="http://schemas.openxmlformats.org/officeDocument/2006/relationships/oleObject" Target="../embeddings/oleObject100.bin"/><Relationship Id="rId5" Type="http://schemas.openxmlformats.org/officeDocument/2006/relationships/tags" Target="../tags/tag476.xml"/><Relationship Id="rId10" Type="http://schemas.openxmlformats.org/officeDocument/2006/relationships/image" Target="../media/image6.jpeg"/><Relationship Id="rId4" Type="http://schemas.openxmlformats.org/officeDocument/2006/relationships/tags" Target="../tags/tag475.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481.xml"/><Relationship Id="rId7" Type="http://schemas.openxmlformats.org/officeDocument/2006/relationships/image" Target="../media/image7.jpeg"/><Relationship Id="rId2" Type="http://schemas.openxmlformats.org/officeDocument/2006/relationships/tags" Target="../tags/tag480.xml"/><Relationship Id="rId1" Type="http://schemas.openxmlformats.org/officeDocument/2006/relationships/vmlDrawing" Target="../drawings/vmlDrawing92.vml"/><Relationship Id="rId6" Type="http://schemas.openxmlformats.org/officeDocument/2006/relationships/slideMaster" Target="../slideMasters/slideMaster16.xml"/><Relationship Id="rId5" Type="http://schemas.openxmlformats.org/officeDocument/2006/relationships/tags" Target="../tags/tag483.xml"/><Relationship Id="rId4" Type="http://schemas.openxmlformats.org/officeDocument/2006/relationships/tags" Target="../tags/tag482.xml"/><Relationship Id="rId9"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7.xml"/><Relationship Id="rId7" Type="http://schemas.openxmlformats.org/officeDocument/2006/relationships/oleObject" Target="../embeddings/oleObject103.bin"/><Relationship Id="rId2" Type="http://schemas.openxmlformats.org/officeDocument/2006/relationships/tags" Target="../tags/tag486.xml"/><Relationship Id="rId1" Type="http://schemas.openxmlformats.org/officeDocument/2006/relationships/vmlDrawing" Target="../drawings/vmlDrawing94.vml"/><Relationship Id="rId6" Type="http://schemas.openxmlformats.org/officeDocument/2006/relationships/slideMaster" Target="../slideMasters/slideMaster16.xml"/><Relationship Id="rId5" Type="http://schemas.openxmlformats.org/officeDocument/2006/relationships/tags" Target="../tags/tag489.xml"/><Relationship Id="rId4" Type="http://schemas.openxmlformats.org/officeDocument/2006/relationships/tags" Target="../tags/tag488.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1.xml"/><Relationship Id="rId7" Type="http://schemas.openxmlformats.org/officeDocument/2006/relationships/oleObject" Target="../embeddings/oleObject104.bin"/><Relationship Id="rId2" Type="http://schemas.openxmlformats.org/officeDocument/2006/relationships/tags" Target="../tags/tag490.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3.xml"/><Relationship Id="rId4" Type="http://schemas.openxmlformats.org/officeDocument/2006/relationships/tags" Target="../tags/tag492.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5.xml"/><Relationship Id="rId7" Type="http://schemas.openxmlformats.org/officeDocument/2006/relationships/tags" Target="../tags/tag499.xml"/><Relationship Id="rId2" Type="http://schemas.openxmlformats.org/officeDocument/2006/relationships/tags" Target="../tags/tag494.xml"/><Relationship Id="rId1" Type="http://schemas.openxmlformats.org/officeDocument/2006/relationships/vmlDrawing" Target="../drawings/vmlDrawing96.vml"/><Relationship Id="rId6" Type="http://schemas.openxmlformats.org/officeDocument/2006/relationships/tags" Target="../tags/tag498.xml"/><Relationship Id="rId5" Type="http://schemas.openxmlformats.org/officeDocument/2006/relationships/tags" Target="../tags/tag497.xml"/><Relationship Id="rId10" Type="http://schemas.openxmlformats.org/officeDocument/2006/relationships/image" Target="../media/image1.emf"/><Relationship Id="rId4" Type="http://schemas.openxmlformats.org/officeDocument/2006/relationships/tags" Target="../tags/tag496.xml"/><Relationship Id="rId9" Type="http://schemas.openxmlformats.org/officeDocument/2006/relationships/oleObject" Target="../embeddings/oleObject105.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0.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502.xml"/><Relationship Id="rId7" Type="http://schemas.openxmlformats.org/officeDocument/2006/relationships/image" Target="../media/image1.emf"/><Relationship Id="rId2" Type="http://schemas.openxmlformats.org/officeDocument/2006/relationships/tags" Target="../tags/tag501.xml"/><Relationship Id="rId1" Type="http://schemas.openxmlformats.org/officeDocument/2006/relationships/vmlDrawing" Target="../drawings/vmlDrawing98.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503.xml"/><Relationship Id="rId9" Type="http://schemas.openxmlformats.org/officeDocument/2006/relationships/oleObject" Target="../embeddings/oleObject108.bin"/></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6.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6.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4.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4.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4.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2.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2.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2.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2.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2.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3.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2.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2.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2.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3.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26.vml"/><Relationship Id="rId6" Type="http://schemas.openxmlformats.org/officeDocument/2006/relationships/tags" Target="../tags/tag148.xml"/><Relationship Id="rId11" Type="http://schemas.openxmlformats.org/officeDocument/2006/relationships/oleObject" Target="../embeddings/oleObject26.bin"/><Relationship Id="rId5" Type="http://schemas.openxmlformats.org/officeDocument/2006/relationships/tags" Target="../tags/tag147.xml"/><Relationship Id="rId10" Type="http://schemas.openxmlformats.org/officeDocument/2006/relationships/image" Target="../media/image46.jpeg"/><Relationship Id="rId4" Type="http://schemas.openxmlformats.org/officeDocument/2006/relationships/tags" Target="../tags/tag146.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2.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tags" Target="../tags/tag155.xml"/><Relationship Id="rId11" Type="http://schemas.openxmlformats.org/officeDocument/2006/relationships/oleObject" Target="../embeddings/oleObject27.bin"/><Relationship Id="rId5" Type="http://schemas.openxmlformats.org/officeDocument/2006/relationships/tags" Target="../tags/tag154.xml"/><Relationship Id="rId10" Type="http://schemas.openxmlformats.org/officeDocument/2006/relationships/image" Target="../media/image6.jpeg"/><Relationship Id="rId4" Type="http://schemas.openxmlformats.org/officeDocument/2006/relationships/tags" Target="../tags/tag153.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40.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2.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3.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29.bin"/><Relationship Id="rId2" Type="http://schemas.openxmlformats.org/officeDocument/2006/relationships/tags" Target="../tags/tag160.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3.xml"/><Relationship Id="rId4" Type="http://schemas.openxmlformats.org/officeDocument/2006/relationships/tags" Target="../tags/tag162.xml"/></Relationships>
</file>

<file path=ppt/slideLayouts/_rels/slideLayout460.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oleObject" Target="../embeddings/oleObject30.bin"/><Relationship Id="rId2" Type="http://schemas.openxmlformats.org/officeDocument/2006/relationships/tags" Target="../tags/tag164.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7.xml"/><Relationship Id="rId4" Type="http://schemas.openxmlformats.org/officeDocument/2006/relationships/tags" Target="../tags/tag166.xml"/></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6.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8.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79.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31.v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1.emf"/><Relationship Id="rId4" Type="http://schemas.openxmlformats.org/officeDocument/2006/relationships/tags" Target="../tags/tag170.xml"/><Relationship Id="rId9" Type="http://schemas.openxmlformats.org/officeDocument/2006/relationships/oleObject" Target="../embeddings/oleObject31.bin"/></Relationships>
</file>

<file path=ppt/slideLayouts/_rels/slideLayout4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6.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8.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76.xml"/><Relationship Id="rId7" Type="http://schemas.openxmlformats.org/officeDocument/2006/relationships/image" Target="../media/image47.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7.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6.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8.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499.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7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2.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6.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8.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09.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6.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8.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19.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2.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6.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8.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29.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6.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8.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39.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2.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8.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49.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2.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6.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8.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59.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33.bin"/><Relationship Id="rId2" Type="http://schemas.openxmlformats.org/officeDocument/2006/relationships/tags" Target="../tags/tag190.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2.xml"/><Relationship Id="rId9" Type="http://schemas.openxmlformats.org/officeDocument/2006/relationships/oleObject" Target="../embeddings/oleObject34.bin"/></Relationships>
</file>

<file path=ppt/slideLayouts/_rels/slideLayout5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2.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6.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8.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69.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2.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6.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8.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79.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2.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6.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8.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89.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4.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37.vml"/><Relationship Id="rId6" Type="http://schemas.openxmlformats.org/officeDocument/2006/relationships/tags" Target="../tags/tag212.xml"/><Relationship Id="rId11" Type="http://schemas.openxmlformats.org/officeDocument/2006/relationships/oleObject" Target="../embeddings/oleObject40.bin"/><Relationship Id="rId5" Type="http://schemas.openxmlformats.org/officeDocument/2006/relationships/tags" Target="../tags/tag211.xml"/><Relationship Id="rId10" Type="http://schemas.openxmlformats.org/officeDocument/2006/relationships/image" Target="../media/image3.jpeg"/><Relationship Id="rId4" Type="http://schemas.openxmlformats.org/officeDocument/2006/relationships/tags" Target="../tags/tag210.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5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2.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6.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8.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599.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8.vml"/><Relationship Id="rId6" Type="http://schemas.openxmlformats.org/officeDocument/2006/relationships/tags" Target="../tags/tag219.xml"/><Relationship Id="rId11" Type="http://schemas.openxmlformats.org/officeDocument/2006/relationships/oleObject" Target="../embeddings/oleObject41.bin"/><Relationship Id="rId5" Type="http://schemas.openxmlformats.org/officeDocument/2006/relationships/tags" Target="../tags/tag218.xml"/><Relationship Id="rId10" Type="http://schemas.openxmlformats.org/officeDocument/2006/relationships/image" Target="../media/image6.jpeg"/><Relationship Id="rId4" Type="http://schemas.openxmlformats.org/officeDocument/2006/relationships/tags" Target="../tags/tag217.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2.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6.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8.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09.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3.xml"/><Relationship Id="rId7" Type="http://schemas.openxmlformats.org/officeDocument/2006/relationships/image" Target="../media/image7.jpeg"/><Relationship Id="rId2" Type="http://schemas.openxmlformats.org/officeDocument/2006/relationships/tags" Target="../tags/tag222.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2.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6.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8.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19.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2.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4.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6.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8.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29.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44.bin"/><Relationship Id="rId2" Type="http://schemas.openxmlformats.org/officeDocument/2006/relationships/tags" Target="../tags/tag228.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1.xml"/><Relationship Id="rId4" Type="http://schemas.openxmlformats.org/officeDocument/2006/relationships/tags" Target="../tags/tag230.xml"/></Relationships>
</file>

<file path=ppt/slideLayouts/_rels/slideLayout6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2.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6.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8.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39.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oleObject" Target="../embeddings/oleObject45.bin"/><Relationship Id="rId2" Type="http://schemas.openxmlformats.org/officeDocument/2006/relationships/tags" Target="../tags/tag232.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5.xml"/><Relationship Id="rId4" Type="http://schemas.openxmlformats.org/officeDocument/2006/relationships/tags" Target="../tags/tag234.xml"/></Relationships>
</file>

<file path=ppt/slideLayouts/_rels/slideLayout6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2.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6.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8.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49.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43.vml"/><Relationship Id="rId6" Type="http://schemas.openxmlformats.org/officeDocument/2006/relationships/tags" Target="../tags/tag240.xml"/><Relationship Id="rId5" Type="http://schemas.openxmlformats.org/officeDocument/2006/relationships/tags" Target="../tags/tag239.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oleObject" Target="../embeddings/oleObject46.bin"/></Relationships>
</file>

<file path=ppt/slideLayouts/_rels/slideLayout6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2.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2.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xml"/><Relationship Id="rId7" Type="http://schemas.openxmlformats.org/officeDocument/2006/relationships/oleObject" Target="../embeddings/oleObject49.bin"/><Relationship Id="rId2" Type="http://schemas.openxmlformats.org/officeDocument/2006/relationships/tags" Target="../tags/tag253.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55.xml"/><Relationship Id="rId9"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50.vml"/><Relationship Id="rId6" Type="http://schemas.openxmlformats.org/officeDocument/2006/relationships/tags" Target="../tags/tag275.xml"/><Relationship Id="rId11" Type="http://schemas.openxmlformats.org/officeDocument/2006/relationships/oleObject" Target="../embeddings/oleObject56.bin"/><Relationship Id="rId5" Type="http://schemas.openxmlformats.org/officeDocument/2006/relationships/tags" Target="../tags/tag274.xml"/><Relationship Id="rId10" Type="http://schemas.openxmlformats.org/officeDocument/2006/relationships/image" Target="../media/image3.jpeg"/><Relationship Id="rId4" Type="http://schemas.openxmlformats.org/officeDocument/2006/relationships/tags" Target="../tags/tag273.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5.pn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51.vml"/><Relationship Id="rId6" Type="http://schemas.openxmlformats.org/officeDocument/2006/relationships/tags" Target="../tags/tag282.xml"/><Relationship Id="rId11" Type="http://schemas.openxmlformats.org/officeDocument/2006/relationships/oleObject" Target="../embeddings/oleObject57.bin"/><Relationship Id="rId5" Type="http://schemas.openxmlformats.org/officeDocument/2006/relationships/tags" Target="../tags/tag281.xml"/><Relationship Id="rId10" Type="http://schemas.openxmlformats.org/officeDocument/2006/relationships/image" Target="../media/image6.jpeg"/><Relationship Id="rId4" Type="http://schemas.openxmlformats.org/officeDocument/2006/relationships/tags" Target="../tags/tag280.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86.xml"/><Relationship Id="rId7" Type="http://schemas.openxmlformats.org/officeDocument/2006/relationships/image" Target="../media/image7.jpeg"/><Relationship Id="rId2" Type="http://schemas.openxmlformats.org/officeDocument/2006/relationships/tags" Target="../tags/tag285.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2.xml"/><Relationship Id="rId7" Type="http://schemas.openxmlformats.org/officeDocument/2006/relationships/oleObject" Target="../embeddings/oleObject60.bin"/><Relationship Id="rId2" Type="http://schemas.openxmlformats.org/officeDocument/2006/relationships/tags" Target="../tags/tag291.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4.xml"/><Relationship Id="rId4" Type="http://schemas.openxmlformats.org/officeDocument/2006/relationships/tags" Target="../tags/tag29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xml"/><Relationship Id="rId7" Type="http://schemas.openxmlformats.org/officeDocument/2006/relationships/oleObject" Target="../embeddings/oleObject61.bin"/><Relationship Id="rId2" Type="http://schemas.openxmlformats.org/officeDocument/2006/relationships/tags" Target="../tags/tag295.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8.xml"/><Relationship Id="rId4" Type="http://schemas.openxmlformats.org/officeDocument/2006/relationships/tags" Target="../tags/tag297.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56.v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1.emf"/><Relationship Id="rId4" Type="http://schemas.openxmlformats.org/officeDocument/2006/relationships/tags" Target="../tags/tag301.xml"/><Relationship Id="rId9" Type="http://schemas.openxmlformats.org/officeDocument/2006/relationships/oleObject" Target="../embeddings/oleObject6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5.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4.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emf"/><Relationship Id="rId2" Type="http://schemas.openxmlformats.org/officeDocument/2006/relationships/tags" Target="../tags/tag315.xml"/><Relationship Id="rId1" Type="http://schemas.openxmlformats.org/officeDocument/2006/relationships/vmlDrawing" Target="../drawings/vmlDrawing59.vml"/><Relationship Id="rId6" Type="http://schemas.openxmlformats.org/officeDocument/2006/relationships/tags" Target="../tags/tag319.xml"/><Relationship Id="rId11" Type="http://schemas.openxmlformats.org/officeDocument/2006/relationships/oleObject" Target="../embeddings/oleObject65.bin"/><Relationship Id="rId5" Type="http://schemas.openxmlformats.org/officeDocument/2006/relationships/tags" Target="../tags/tag318.xml"/><Relationship Id="rId10" Type="http://schemas.openxmlformats.org/officeDocument/2006/relationships/image" Target="../media/image3.jpeg"/><Relationship Id="rId4" Type="http://schemas.openxmlformats.org/officeDocument/2006/relationships/tags" Target="../tags/tag317.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60.vml"/><Relationship Id="rId6" Type="http://schemas.openxmlformats.org/officeDocument/2006/relationships/tags" Target="../tags/tag326.xml"/><Relationship Id="rId11" Type="http://schemas.openxmlformats.org/officeDocument/2006/relationships/oleObject" Target="../embeddings/oleObject66.bin"/><Relationship Id="rId5" Type="http://schemas.openxmlformats.org/officeDocument/2006/relationships/tags" Target="../tags/tag325.xml"/><Relationship Id="rId10" Type="http://schemas.openxmlformats.org/officeDocument/2006/relationships/image" Target="../media/image6.jpeg"/><Relationship Id="rId4" Type="http://schemas.openxmlformats.org/officeDocument/2006/relationships/tags" Target="../tags/tag324.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0.xml"/><Relationship Id="rId7" Type="http://schemas.openxmlformats.org/officeDocument/2006/relationships/image" Target="../media/image7.jpeg"/><Relationship Id="rId2" Type="http://schemas.openxmlformats.org/officeDocument/2006/relationships/tags" Target="../tags/tag329.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6.xml"/><Relationship Id="rId7" Type="http://schemas.openxmlformats.org/officeDocument/2006/relationships/oleObject" Target="../embeddings/oleObject69.bin"/><Relationship Id="rId2" Type="http://schemas.openxmlformats.org/officeDocument/2006/relationships/tags" Target="../tags/tag335.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38.xml"/><Relationship Id="rId4" Type="http://schemas.openxmlformats.org/officeDocument/2006/relationships/tags" Target="../tags/tag33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0.xml"/><Relationship Id="rId7" Type="http://schemas.openxmlformats.org/officeDocument/2006/relationships/oleObject" Target="../embeddings/oleObject70.bin"/><Relationship Id="rId2" Type="http://schemas.openxmlformats.org/officeDocument/2006/relationships/tags" Target="../tags/tag339.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2.xml"/><Relationship Id="rId4" Type="http://schemas.openxmlformats.org/officeDocument/2006/relationships/tags" Target="../tags/tag34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65.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71.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4.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68.vml"/><Relationship Id="rId6" Type="http://schemas.openxmlformats.org/officeDocument/2006/relationships/tags" Target="../tags/tag363.xml"/><Relationship Id="rId11" Type="http://schemas.openxmlformats.org/officeDocument/2006/relationships/oleObject" Target="../embeddings/oleObject74.bin"/><Relationship Id="rId5" Type="http://schemas.openxmlformats.org/officeDocument/2006/relationships/tags" Target="../tags/tag362.xml"/><Relationship Id="rId10" Type="http://schemas.openxmlformats.org/officeDocument/2006/relationships/image" Target="../media/image3.jpeg"/><Relationship Id="rId4" Type="http://schemas.openxmlformats.org/officeDocument/2006/relationships/tags" Target="../tags/tag361.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5.png"/><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69.vml"/><Relationship Id="rId6" Type="http://schemas.openxmlformats.org/officeDocument/2006/relationships/tags" Target="../tags/tag370.xml"/><Relationship Id="rId11" Type="http://schemas.openxmlformats.org/officeDocument/2006/relationships/oleObject" Target="../embeddings/oleObject75.bin"/><Relationship Id="rId5" Type="http://schemas.openxmlformats.org/officeDocument/2006/relationships/tags" Target="../tags/tag369.xml"/><Relationship Id="rId10" Type="http://schemas.openxmlformats.org/officeDocument/2006/relationships/image" Target="../media/image6.jpeg"/><Relationship Id="rId4" Type="http://schemas.openxmlformats.org/officeDocument/2006/relationships/tags" Target="../tags/tag368.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4.xml"/><Relationship Id="rId7" Type="http://schemas.openxmlformats.org/officeDocument/2006/relationships/image" Target="../media/image7.jpeg"/><Relationship Id="rId2" Type="http://schemas.openxmlformats.org/officeDocument/2006/relationships/tags" Target="../tags/tag373.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0.xml"/><Relationship Id="rId7" Type="http://schemas.openxmlformats.org/officeDocument/2006/relationships/oleObject" Target="../embeddings/oleObject78.bin"/><Relationship Id="rId2" Type="http://schemas.openxmlformats.org/officeDocument/2006/relationships/tags" Target="../tags/tag379.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2.xml"/><Relationship Id="rId4" Type="http://schemas.openxmlformats.org/officeDocument/2006/relationships/tags" Target="../tags/tag38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1"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52"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5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28"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6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1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04"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5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4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7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93"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74"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7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32"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2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2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4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8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1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3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5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5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0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0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4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7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3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4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6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1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3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0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7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699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37"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2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2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4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8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5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19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19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4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4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8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8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0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4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1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3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0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7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3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0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7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88"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39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6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80"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3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0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0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4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299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4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6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3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5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59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2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2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4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4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8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5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7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1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41"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3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8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0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0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3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0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7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899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6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3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0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2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2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6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0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2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2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2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6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6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8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7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7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4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59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4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4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1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3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8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5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65"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8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0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7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7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4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6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6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8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0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0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2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4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39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4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6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3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5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299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6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6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4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1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3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0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0"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7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1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4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6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2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6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8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0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4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0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2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4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79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4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6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3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1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5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2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39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4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36"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6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6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8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3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5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8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2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5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6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0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56"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6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8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5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47.xml"/><Relationship Id="rId18"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theme" Target="../theme/theme10.xml"/><Relationship Id="rId12" Type="http://schemas.openxmlformats.org/officeDocument/2006/relationships/tags" Target="../tags/tag246.xml"/><Relationship Id="rId17" Type="http://schemas.openxmlformats.org/officeDocument/2006/relationships/oleObject" Target="../embeddings/oleObject48.bin"/><Relationship Id="rId2" Type="http://schemas.openxmlformats.org/officeDocument/2006/relationships/slideLayout" Target="../slideLayouts/slideLayout70.xml"/><Relationship Id="rId16" Type="http://schemas.openxmlformats.org/officeDocument/2006/relationships/tags" Target="../tags/tag25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245.xml"/><Relationship Id="rId5" Type="http://schemas.openxmlformats.org/officeDocument/2006/relationships/slideLayout" Target="../slideLayouts/slideLayout73.xml"/><Relationship Id="rId15" Type="http://schemas.openxmlformats.org/officeDocument/2006/relationships/tags" Target="../tags/tag249.xml"/><Relationship Id="rId10" Type="http://schemas.openxmlformats.org/officeDocument/2006/relationships/tags" Target="../tags/tag244.xml"/><Relationship Id="rId19" Type="http://schemas.openxmlformats.org/officeDocument/2006/relationships/image" Target="../media/image2.png"/><Relationship Id="rId4" Type="http://schemas.openxmlformats.org/officeDocument/2006/relationships/slideLayout" Target="../slideLayouts/slideLayout72.xml"/><Relationship Id="rId9" Type="http://schemas.openxmlformats.org/officeDocument/2006/relationships/tags" Target="../tags/tag243.xml"/><Relationship Id="rId14" Type="http://schemas.openxmlformats.org/officeDocument/2006/relationships/tags" Target="../tags/tag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ags" Target="../tags/tag262.xml"/><Relationship Id="rId18" Type="http://schemas.openxmlformats.org/officeDocument/2006/relationships/tags" Target="../tags/tag267.xml"/><Relationship Id="rId3" Type="http://schemas.openxmlformats.org/officeDocument/2006/relationships/slideLayout" Target="../slideLayouts/slideLayout77.xml"/><Relationship Id="rId21" Type="http://schemas.openxmlformats.org/officeDocument/2006/relationships/tags" Target="../tags/tag270.xml"/><Relationship Id="rId7" Type="http://schemas.openxmlformats.org/officeDocument/2006/relationships/slideLayout" Target="../slideLayouts/slideLayout81.xml"/><Relationship Id="rId12" Type="http://schemas.openxmlformats.org/officeDocument/2006/relationships/vmlDrawing" Target="../drawings/vmlDrawing49.vml"/><Relationship Id="rId17" Type="http://schemas.openxmlformats.org/officeDocument/2006/relationships/tags" Target="../tags/tag266.xml"/><Relationship Id="rId2" Type="http://schemas.openxmlformats.org/officeDocument/2006/relationships/slideLayout" Target="../slideLayouts/slideLayout76.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79.xml"/><Relationship Id="rId15" Type="http://schemas.openxmlformats.org/officeDocument/2006/relationships/tags" Target="../tags/tag264.xml"/><Relationship Id="rId23" Type="http://schemas.openxmlformats.org/officeDocument/2006/relationships/image" Target="../media/image1.emf"/><Relationship Id="rId10" Type="http://schemas.openxmlformats.org/officeDocument/2006/relationships/slideLayout" Target="../slideLayouts/slideLayout84.xml"/><Relationship Id="rId19" Type="http://schemas.openxmlformats.org/officeDocument/2006/relationships/tags" Target="../tags/tag26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63.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ags" Target="../tags/tag306.xml"/><Relationship Id="rId18" Type="http://schemas.openxmlformats.org/officeDocument/2006/relationships/tags" Target="../tags/tag311.xml"/><Relationship Id="rId3" Type="http://schemas.openxmlformats.org/officeDocument/2006/relationships/slideLayout" Target="../slideLayouts/slideLayout87.xml"/><Relationship Id="rId21" Type="http://schemas.openxmlformats.org/officeDocument/2006/relationships/tags" Target="../tags/tag314.xml"/><Relationship Id="rId7" Type="http://schemas.openxmlformats.org/officeDocument/2006/relationships/slideLayout" Target="../slideLayouts/slideLayout91.xml"/><Relationship Id="rId12" Type="http://schemas.openxmlformats.org/officeDocument/2006/relationships/vmlDrawing" Target="../drawings/vmlDrawing58.vml"/><Relationship Id="rId17" Type="http://schemas.openxmlformats.org/officeDocument/2006/relationships/tags" Target="../tags/tag310.xml"/><Relationship Id="rId2" Type="http://schemas.openxmlformats.org/officeDocument/2006/relationships/slideLayout" Target="../slideLayouts/slideLayout86.xml"/><Relationship Id="rId16" Type="http://schemas.openxmlformats.org/officeDocument/2006/relationships/tags" Target="../tags/tag309.xml"/><Relationship Id="rId20" Type="http://schemas.openxmlformats.org/officeDocument/2006/relationships/tags" Target="../tags/tag3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tags" Target="../tags/tag308.xml"/><Relationship Id="rId23" Type="http://schemas.openxmlformats.org/officeDocument/2006/relationships/image" Target="../media/image1.emf"/><Relationship Id="rId10" Type="http://schemas.openxmlformats.org/officeDocument/2006/relationships/slideLayout" Target="../slideLayouts/slideLayout94.xml"/><Relationship Id="rId19" Type="http://schemas.openxmlformats.org/officeDocument/2006/relationships/tags" Target="../tags/tag312.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307.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slideLayout" Target="../slideLayouts/slideLayout97.xml"/><Relationship Id="rId21" Type="http://schemas.openxmlformats.org/officeDocument/2006/relationships/tags" Target="../tags/tag358.xml"/><Relationship Id="rId7" Type="http://schemas.openxmlformats.org/officeDocument/2006/relationships/slideLayout" Target="../slideLayouts/slideLayout101.xml"/><Relationship Id="rId12" Type="http://schemas.openxmlformats.org/officeDocument/2006/relationships/vmlDrawing" Target="../drawings/vmlDrawing67.vml"/><Relationship Id="rId17" Type="http://schemas.openxmlformats.org/officeDocument/2006/relationships/tags" Target="../tags/tag354.xml"/><Relationship Id="rId2" Type="http://schemas.openxmlformats.org/officeDocument/2006/relationships/slideLayout" Target="../slideLayouts/slideLayout96.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99.xml"/><Relationship Id="rId15" Type="http://schemas.openxmlformats.org/officeDocument/2006/relationships/tags" Target="../tags/tag352.xml"/><Relationship Id="rId23" Type="http://schemas.openxmlformats.org/officeDocument/2006/relationships/image" Target="../media/image1.emf"/><Relationship Id="rId10" Type="http://schemas.openxmlformats.org/officeDocument/2006/relationships/slideLayout" Target="../slideLayouts/slideLayout104.xml"/><Relationship Id="rId19" Type="http://schemas.openxmlformats.org/officeDocument/2006/relationships/tags" Target="../tags/tag35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51.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94.xml"/><Relationship Id="rId18" Type="http://schemas.openxmlformats.org/officeDocument/2006/relationships/tags" Target="../tags/tag399.xml"/><Relationship Id="rId3" Type="http://schemas.openxmlformats.org/officeDocument/2006/relationships/slideLayout" Target="../slideLayouts/slideLayout107.xml"/><Relationship Id="rId21" Type="http://schemas.openxmlformats.org/officeDocument/2006/relationships/tags" Target="../tags/tag402.xml"/><Relationship Id="rId7" Type="http://schemas.openxmlformats.org/officeDocument/2006/relationships/slideLayout" Target="../slideLayouts/slideLayout111.xml"/><Relationship Id="rId12" Type="http://schemas.openxmlformats.org/officeDocument/2006/relationships/vmlDrawing" Target="../drawings/vmlDrawing76.vml"/><Relationship Id="rId17" Type="http://schemas.openxmlformats.org/officeDocument/2006/relationships/tags" Target="../tags/tag398.xml"/><Relationship Id="rId2" Type="http://schemas.openxmlformats.org/officeDocument/2006/relationships/slideLayout" Target="../slideLayouts/slideLayout106.xml"/><Relationship Id="rId16" Type="http://schemas.openxmlformats.org/officeDocument/2006/relationships/tags" Target="../tags/tag397.xml"/><Relationship Id="rId20" Type="http://schemas.openxmlformats.org/officeDocument/2006/relationships/tags" Target="../tags/tag40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09.xml"/><Relationship Id="rId15" Type="http://schemas.openxmlformats.org/officeDocument/2006/relationships/tags" Target="../tags/tag396.xml"/><Relationship Id="rId23" Type="http://schemas.openxmlformats.org/officeDocument/2006/relationships/image" Target="../media/image1.emf"/><Relationship Id="rId10" Type="http://schemas.openxmlformats.org/officeDocument/2006/relationships/slideLayout" Target="../slideLayouts/slideLayout114.xml"/><Relationship Id="rId19" Type="http://schemas.openxmlformats.org/officeDocument/2006/relationships/tags" Target="../tags/tag40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95.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5.vml"/><Relationship Id="rId13" Type="http://schemas.openxmlformats.org/officeDocument/2006/relationships/tags" Target="../tags/tag442.xml"/><Relationship Id="rId18" Type="http://schemas.openxmlformats.org/officeDocument/2006/relationships/image" Target="../media/image1.emf"/><Relationship Id="rId3" Type="http://schemas.openxmlformats.org/officeDocument/2006/relationships/slideLayout" Target="../slideLayouts/slideLayout117.xml"/><Relationship Id="rId7" Type="http://schemas.openxmlformats.org/officeDocument/2006/relationships/theme" Target="../theme/theme15.xml"/><Relationship Id="rId12" Type="http://schemas.openxmlformats.org/officeDocument/2006/relationships/tags" Target="../tags/tag441.xml"/><Relationship Id="rId17" Type="http://schemas.openxmlformats.org/officeDocument/2006/relationships/oleObject" Target="../embeddings/oleObject91.bin"/><Relationship Id="rId2" Type="http://schemas.openxmlformats.org/officeDocument/2006/relationships/slideLayout" Target="../slideLayouts/slideLayout116.xml"/><Relationship Id="rId16" Type="http://schemas.openxmlformats.org/officeDocument/2006/relationships/tags" Target="../tags/tag44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40.xml"/><Relationship Id="rId5" Type="http://schemas.openxmlformats.org/officeDocument/2006/relationships/slideLayout" Target="../slideLayouts/slideLayout119.xml"/><Relationship Id="rId15" Type="http://schemas.openxmlformats.org/officeDocument/2006/relationships/tags" Target="../tags/tag444.xml"/><Relationship Id="rId10" Type="http://schemas.openxmlformats.org/officeDocument/2006/relationships/tags" Target="../tags/tag439.xml"/><Relationship Id="rId19" Type="http://schemas.openxmlformats.org/officeDocument/2006/relationships/image" Target="../media/image2.png"/><Relationship Id="rId4" Type="http://schemas.openxmlformats.org/officeDocument/2006/relationships/slideLayout" Target="../slideLayouts/slideLayout118.xml"/><Relationship Id="rId9" Type="http://schemas.openxmlformats.org/officeDocument/2006/relationships/tags" Target="../tags/tag438.xml"/><Relationship Id="rId14" Type="http://schemas.openxmlformats.org/officeDocument/2006/relationships/tags" Target="../tags/tag4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vmlDrawing" Target="../drawings/vmlDrawing89.vml"/><Relationship Id="rId18" Type="http://schemas.openxmlformats.org/officeDocument/2006/relationships/tags" Target="../tags/tag461.xml"/><Relationship Id="rId3" Type="http://schemas.openxmlformats.org/officeDocument/2006/relationships/slideLayout" Target="../slideLayouts/slideLayout123.xml"/><Relationship Id="rId21" Type="http://schemas.openxmlformats.org/officeDocument/2006/relationships/tags" Target="../tags/tag464.xml"/><Relationship Id="rId7" Type="http://schemas.openxmlformats.org/officeDocument/2006/relationships/slideLayout" Target="../slideLayouts/slideLayout127.xml"/><Relationship Id="rId12" Type="http://schemas.openxmlformats.org/officeDocument/2006/relationships/theme" Target="../theme/theme16.xml"/><Relationship Id="rId17" Type="http://schemas.openxmlformats.org/officeDocument/2006/relationships/tags" Target="../tags/tag460.xml"/><Relationship Id="rId25" Type="http://schemas.openxmlformats.org/officeDocument/2006/relationships/image" Target="../media/image2.png"/><Relationship Id="rId2" Type="http://schemas.openxmlformats.org/officeDocument/2006/relationships/slideLayout" Target="../slideLayouts/slideLayout122.xml"/><Relationship Id="rId16" Type="http://schemas.openxmlformats.org/officeDocument/2006/relationships/tags" Target="../tags/tag459.xml"/><Relationship Id="rId20" Type="http://schemas.openxmlformats.org/officeDocument/2006/relationships/tags" Target="../tags/tag463.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image" Target="../media/image1.emf"/><Relationship Id="rId5" Type="http://schemas.openxmlformats.org/officeDocument/2006/relationships/slideLayout" Target="../slideLayouts/slideLayout125.xml"/><Relationship Id="rId15" Type="http://schemas.openxmlformats.org/officeDocument/2006/relationships/tags" Target="../tags/tag458.xml"/><Relationship Id="rId23" Type="http://schemas.openxmlformats.org/officeDocument/2006/relationships/oleObject" Target="../embeddings/oleObject98.bin"/><Relationship Id="rId10" Type="http://schemas.openxmlformats.org/officeDocument/2006/relationships/slideLayout" Target="../slideLayouts/slideLayout130.xml"/><Relationship Id="rId19" Type="http://schemas.openxmlformats.org/officeDocument/2006/relationships/tags" Target="../tags/tag462.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tags" Target="../tags/tag457.xml"/><Relationship Id="rId22" Type="http://schemas.openxmlformats.org/officeDocument/2006/relationships/tags" Target="../tags/tag46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4.xml"/><Relationship Id="rId21" Type="http://schemas.openxmlformats.org/officeDocument/2006/relationships/tags" Target="../tags/tag512.xml"/><Relationship Id="rId7" Type="http://schemas.openxmlformats.org/officeDocument/2006/relationships/slideLayout" Target="../slideLayouts/slideLayout138.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3.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6.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1.xml"/><Relationship Id="rId19" Type="http://schemas.openxmlformats.org/officeDocument/2006/relationships/tags" Target="../tags/tag51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4.xml"/><Relationship Id="rId21" Type="http://schemas.openxmlformats.org/officeDocument/2006/relationships/tags" Target="../tags/tag556.xml"/><Relationship Id="rId7" Type="http://schemas.openxmlformats.org/officeDocument/2006/relationships/slideLayout" Target="../slideLayouts/slideLayout148.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3.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6.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1.xml"/><Relationship Id="rId19" Type="http://schemas.openxmlformats.org/officeDocument/2006/relationships/tags" Target="../tags/tag554.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4.xml"/><Relationship Id="rId21" Type="http://schemas.openxmlformats.org/officeDocument/2006/relationships/tags" Target="../tags/tag600.xml"/><Relationship Id="rId7" Type="http://schemas.openxmlformats.org/officeDocument/2006/relationships/slideLayout" Target="../slideLayouts/slideLayout158.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3.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6.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1.xml"/><Relationship Id="rId19" Type="http://schemas.openxmlformats.org/officeDocument/2006/relationships/tags" Target="../tags/tag598.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4.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3.xml"/><Relationship Id="rId16" Type="http://schemas.openxmlformats.org/officeDocument/2006/relationships/tags" Target="../tags/tag64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tags" Target="../tags/tag638.xml"/><Relationship Id="rId5" Type="http://schemas.openxmlformats.org/officeDocument/2006/relationships/slideLayout" Target="../slideLayouts/slideLayout166.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5.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0.xml"/><Relationship Id="rId21" Type="http://schemas.openxmlformats.org/officeDocument/2006/relationships/tags" Target="../tags/tag663.xml"/><Relationship Id="rId7" Type="http://schemas.openxmlformats.org/officeDocument/2006/relationships/slideLayout" Target="../slideLayouts/slideLayout174.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69.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2.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7.xml"/><Relationship Id="rId19" Type="http://schemas.openxmlformats.org/officeDocument/2006/relationships/tags" Target="../tags/tag661.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0.xml"/><Relationship Id="rId21" Type="http://schemas.openxmlformats.org/officeDocument/2006/relationships/tags" Target="../tags/tag707.xml"/><Relationship Id="rId7" Type="http://schemas.openxmlformats.org/officeDocument/2006/relationships/slideLayout" Target="../slideLayouts/slideLayout184.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79.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2.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7.xml"/><Relationship Id="rId19" Type="http://schemas.openxmlformats.org/officeDocument/2006/relationships/tags" Target="../tags/tag705.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0.xml"/><Relationship Id="rId21" Type="http://schemas.openxmlformats.org/officeDocument/2006/relationships/tags" Target="../tags/tag751.xml"/><Relationship Id="rId7" Type="http://schemas.openxmlformats.org/officeDocument/2006/relationships/slideLayout" Target="../slideLayouts/slideLayout194.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89.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2.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7.xml"/><Relationship Id="rId19" Type="http://schemas.openxmlformats.org/officeDocument/2006/relationships/tags" Target="../tags/tag749.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0.xml"/><Relationship Id="rId21" Type="http://schemas.openxmlformats.org/officeDocument/2006/relationships/tags" Target="../tags/tag795.xml"/><Relationship Id="rId7" Type="http://schemas.openxmlformats.org/officeDocument/2006/relationships/slideLayout" Target="../slideLayouts/slideLayout204.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199.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2.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7.xml"/><Relationship Id="rId19" Type="http://schemas.openxmlformats.org/officeDocument/2006/relationships/tags" Target="../tags/tag793.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0.xml"/><Relationship Id="rId21" Type="http://schemas.openxmlformats.org/officeDocument/2006/relationships/tags" Target="../tags/tag839.xml"/><Relationship Id="rId7" Type="http://schemas.openxmlformats.org/officeDocument/2006/relationships/slideLayout" Target="../slideLayouts/slideLayout214.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09.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2.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7.xml"/><Relationship Id="rId19" Type="http://schemas.openxmlformats.org/officeDocument/2006/relationships/tags" Target="../tags/tag837.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0.xml"/><Relationship Id="rId21" Type="http://schemas.openxmlformats.org/officeDocument/2006/relationships/tags" Target="../tags/tag883.xml"/><Relationship Id="rId7" Type="http://schemas.openxmlformats.org/officeDocument/2006/relationships/slideLayout" Target="../slideLayouts/slideLayout224.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19.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2.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7.xml"/><Relationship Id="rId19" Type="http://schemas.openxmlformats.org/officeDocument/2006/relationships/tags" Target="../tags/tag881.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0.xml"/><Relationship Id="rId21" Type="http://schemas.openxmlformats.org/officeDocument/2006/relationships/tags" Target="../tags/tag927.xml"/><Relationship Id="rId7" Type="http://schemas.openxmlformats.org/officeDocument/2006/relationships/slideLayout" Target="../slideLayouts/slideLayout234.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29.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2.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7.xml"/><Relationship Id="rId19" Type="http://schemas.openxmlformats.org/officeDocument/2006/relationships/tags" Target="../tags/tag925.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0.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39.xml"/><Relationship Id="rId16" Type="http://schemas.openxmlformats.org/officeDocument/2006/relationships/tags" Target="../tags/tag970.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tags" Target="../tags/tag965.xml"/><Relationship Id="rId5" Type="http://schemas.openxmlformats.org/officeDocument/2006/relationships/slideLayout" Target="../slideLayouts/slideLayout242.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1.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6.xml"/><Relationship Id="rId21" Type="http://schemas.openxmlformats.org/officeDocument/2006/relationships/tags" Target="../tags/tag990.xml"/><Relationship Id="rId7" Type="http://schemas.openxmlformats.org/officeDocument/2006/relationships/slideLayout" Target="../slideLayouts/slideLayout250.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5.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8.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3.xml"/><Relationship Id="rId19" Type="http://schemas.openxmlformats.org/officeDocument/2006/relationships/tags" Target="../tags/tag988.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6.xml"/><Relationship Id="rId21" Type="http://schemas.openxmlformats.org/officeDocument/2006/relationships/tags" Target="../tags/tag1034.xml"/><Relationship Id="rId7" Type="http://schemas.openxmlformats.org/officeDocument/2006/relationships/slideLayout" Target="../slideLayouts/slideLayout260.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5.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8.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3.xml"/><Relationship Id="rId19" Type="http://schemas.openxmlformats.org/officeDocument/2006/relationships/tags" Target="../tags/tag1032.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6.xml"/><Relationship Id="rId21" Type="http://schemas.openxmlformats.org/officeDocument/2006/relationships/tags" Target="../tags/tag1078.xml"/><Relationship Id="rId7" Type="http://schemas.openxmlformats.org/officeDocument/2006/relationships/slideLayout" Target="../slideLayouts/slideLayout270.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5.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8.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3.xml"/><Relationship Id="rId19" Type="http://schemas.openxmlformats.org/officeDocument/2006/relationships/tags" Target="../tags/tag1076.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6.xml"/><Relationship Id="rId21" Type="http://schemas.openxmlformats.org/officeDocument/2006/relationships/tags" Target="../tags/tag1122.xml"/><Relationship Id="rId7" Type="http://schemas.openxmlformats.org/officeDocument/2006/relationships/slideLayout" Target="../slideLayouts/slideLayout280.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5.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8.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3.xml"/><Relationship Id="rId19" Type="http://schemas.openxmlformats.org/officeDocument/2006/relationships/tags" Target="../tags/tag1120.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6.xml"/><Relationship Id="rId21" Type="http://schemas.openxmlformats.org/officeDocument/2006/relationships/tags" Target="../tags/tag1166.xml"/><Relationship Id="rId7" Type="http://schemas.openxmlformats.org/officeDocument/2006/relationships/slideLayout" Target="../slideLayouts/slideLayout290.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5.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8.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3.xml"/><Relationship Id="rId19" Type="http://schemas.openxmlformats.org/officeDocument/2006/relationships/tags" Target="../tags/tag1164.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6.xml"/><Relationship Id="rId21" Type="http://schemas.openxmlformats.org/officeDocument/2006/relationships/tags" Target="../tags/tag1210.xml"/><Relationship Id="rId7" Type="http://schemas.openxmlformats.org/officeDocument/2006/relationships/slideLayout" Target="../slideLayouts/slideLayout300.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5.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8.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3.xml"/><Relationship Id="rId19" Type="http://schemas.openxmlformats.org/officeDocument/2006/relationships/tags" Target="../tags/tag1208.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6.xml"/><Relationship Id="rId21" Type="http://schemas.openxmlformats.org/officeDocument/2006/relationships/tags" Target="../tags/tag1254.xml"/><Relationship Id="rId7" Type="http://schemas.openxmlformats.org/officeDocument/2006/relationships/slideLayout" Target="../slideLayouts/slideLayout310.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5.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8.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3.xml"/><Relationship Id="rId19" Type="http://schemas.openxmlformats.org/officeDocument/2006/relationships/tags" Target="../tags/tag125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6.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5.xml"/><Relationship Id="rId16" Type="http://schemas.openxmlformats.org/officeDocument/2006/relationships/tags" Target="../tags/tag1297.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tags" Target="../tags/tag1292.xml"/><Relationship Id="rId5" Type="http://schemas.openxmlformats.org/officeDocument/2006/relationships/slideLayout" Target="../slideLayouts/slideLayout318.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7.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2.xml"/><Relationship Id="rId21" Type="http://schemas.openxmlformats.org/officeDocument/2006/relationships/tags" Target="../tags/tag1317.xml"/><Relationship Id="rId7" Type="http://schemas.openxmlformats.org/officeDocument/2006/relationships/slideLayout" Target="../slideLayouts/slideLayout326.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1.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4.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29.xml"/><Relationship Id="rId19" Type="http://schemas.openxmlformats.org/officeDocument/2006/relationships/tags" Target="../tags/tag1315.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2.xml"/><Relationship Id="rId21" Type="http://schemas.openxmlformats.org/officeDocument/2006/relationships/tags" Target="../tags/tag1361.xml"/><Relationship Id="rId7" Type="http://schemas.openxmlformats.org/officeDocument/2006/relationships/slideLayout" Target="../slideLayouts/slideLayout336.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1.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4.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39.xml"/><Relationship Id="rId19" Type="http://schemas.openxmlformats.org/officeDocument/2006/relationships/tags" Target="../tags/tag1359.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7.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2.xml"/><Relationship Id="rId21" Type="http://schemas.openxmlformats.org/officeDocument/2006/relationships/tags" Target="../tags/tag1405.xml"/><Relationship Id="rId7" Type="http://schemas.openxmlformats.org/officeDocument/2006/relationships/slideLayout" Target="../slideLayouts/slideLayout346.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1.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4.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49.xml"/><Relationship Id="rId19" Type="http://schemas.openxmlformats.org/officeDocument/2006/relationships/tags" Target="../tags/tag1403.xml"/><Relationship Id="rId4" Type="http://schemas.openxmlformats.org/officeDocument/2006/relationships/slideLayout" Target="../slideLayouts/slideLayout343.xml"/><Relationship Id="rId9" Type="http://schemas.openxmlformats.org/officeDocument/2006/relationships/slideLayout" Target="../slideLayouts/slideLayout348.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2.xml"/><Relationship Id="rId21" Type="http://schemas.openxmlformats.org/officeDocument/2006/relationships/tags" Target="../tags/tag1449.xml"/><Relationship Id="rId7" Type="http://schemas.openxmlformats.org/officeDocument/2006/relationships/slideLayout" Target="../slideLayouts/slideLayout356.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1.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4.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59.xml"/><Relationship Id="rId19" Type="http://schemas.openxmlformats.org/officeDocument/2006/relationships/tags" Target="../tags/tag1447.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2.xml"/><Relationship Id="rId21" Type="http://schemas.openxmlformats.org/officeDocument/2006/relationships/tags" Target="../tags/tag1493.xml"/><Relationship Id="rId7" Type="http://schemas.openxmlformats.org/officeDocument/2006/relationships/slideLayout" Target="../slideLayouts/slideLayout366.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1.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4.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69.xml"/><Relationship Id="rId19" Type="http://schemas.openxmlformats.org/officeDocument/2006/relationships/tags" Target="../tags/tag1491.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2.xml"/><Relationship Id="rId21" Type="http://schemas.openxmlformats.org/officeDocument/2006/relationships/tags" Target="../tags/tag1537.xml"/><Relationship Id="rId7" Type="http://schemas.openxmlformats.org/officeDocument/2006/relationships/slideLayout" Target="../slideLayouts/slideLayout376.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1.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4.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79.xml"/><Relationship Id="rId19" Type="http://schemas.openxmlformats.org/officeDocument/2006/relationships/tags" Target="../tags/tag1535.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2.xml"/><Relationship Id="rId21" Type="http://schemas.openxmlformats.org/officeDocument/2006/relationships/tags" Target="../tags/tag1581.xml"/><Relationship Id="rId7" Type="http://schemas.openxmlformats.org/officeDocument/2006/relationships/slideLayout" Target="../slideLayouts/slideLayout386.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1.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4.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89.xml"/><Relationship Id="rId19" Type="http://schemas.openxmlformats.org/officeDocument/2006/relationships/tags" Target="../tags/tag1579.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2.xml"/><Relationship Id="rId21" Type="http://schemas.openxmlformats.org/officeDocument/2006/relationships/tags" Target="../tags/tag1625.xml"/><Relationship Id="rId7" Type="http://schemas.openxmlformats.org/officeDocument/2006/relationships/slideLayout" Target="../slideLayouts/slideLayout396.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1.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4.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399.xml"/><Relationship Id="rId19" Type="http://schemas.openxmlformats.org/officeDocument/2006/relationships/tags" Target="../tags/tag1623.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2.xml"/><Relationship Id="rId21" Type="http://schemas.openxmlformats.org/officeDocument/2006/relationships/tags" Target="../tags/tag1669.xml"/><Relationship Id="rId7" Type="http://schemas.openxmlformats.org/officeDocument/2006/relationships/slideLayout" Target="../slideLayouts/slideLayout406.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1.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4.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09.xml"/><Relationship Id="rId19" Type="http://schemas.openxmlformats.org/officeDocument/2006/relationships/tags" Target="../tags/tag1667.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2.xml"/><Relationship Id="rId21" Type="http://schemas.openxmlformats.org/officeDocument/2006/relationships/tags" Target="../tags/tag1713.xml"/><Relationship Id="rId7" Type="http://schemas.openxmlformats.org/officeDocument/2006/relationships/slideLayout" Target="../slideLayouts/slideLayout416.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1.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4.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19.xml"/><Relationship Id="rId19" Type="http://schemas.openxmlformats.org/officeDocument/2006/relationships/tags" Target="../tags/tag1711.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2.xml"/><Relationship Id="rId21" Type="http://schemas.openxmlformats.org/officeDocument/2006/relationships/tags" Target="../tags/tag1757.xml"/><Relationship Id="rId7" Type="http://schemas.openxmlformats.org/officeDocument/2006/relationships/slideLayout" Target="../slideLayouts/slideLayout426.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1.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4.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29.xml"/><Relationship Id="rId19" Type="http://schemas.openxmlformats.org/officeDocument/2006/relationships/tags" Target="../tags/tag1755.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2.xml"/><Relationship Id="rId21" Type="http://schemas.openxmlformats.org/officeDocument/2006/relationships/tags" Target="../tags/tag1801.xml"/><Relationship Id="rId7" Type="http://schemas.openxmlformats.org/officeDocument/2006/relationships/slideLayout" Target="../slideLayouts/slideLayout436.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1.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4.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39.xml"/><Relationship Id="rId19" Type="http://schemas.openxmlformats.org/officeDocument/2006/relationships/tags" Target="../tags/tag1799.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2.xml"/><Relationship Id="rId21" Type="http://schemas.openxmlformats.org/officeDocument/2006/relationships/tags" Target="../tags/tag1845.xml"/><Relationship Id="rId7" Type="http://schemas.openxmlformats.org/officeDocument/2006/relationships/slideLayout" Target="../slideLayouts/slideLayout446.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1.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4.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49.xml"/><Relationship Id="rId19" Type="http://schemas.openxmlformats.org/officeDocument/2006/relationships/tags" Target="../tags/tag184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4.xml"/><Relationship Id="rId21" Type="http://schemas.openxmlformats.org/officeDocument/2006/relationships/oleObject" Target="../embeddings/oleObject18.bin"/><Relationship Id="rId7" Type="http://schemas.openxmlformats.org/officeDocument/2006/relationships/slideLayout" Target="../slideLayouts/slideLayout38.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3.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7.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2.xml"/><Relationship Id="rId21" Type="http://schemas.openxmlformats.org/officeDocument/2006/relationships/tags" Target="../tags/tag1889.xml"/><Relationship Id="rId7" Type="http://schemas.openxmlformats.org/officeDocument/2006/relationships/slideLayout" Target="../slideLayouts/slideLayout456.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1.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0.xml"/><Relationship Id="rId6" Type="http://schemas.openxmlformats.org/officeDocument/2006/relationships/slideLayout" Target="../slideLayouts/slideLayout455.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4.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59.xml"/><Relationship Id="rId19" Type="http://schemas.openxmlformats.org/officeDocument/2006/relationships/tags" Target="../tags/tag1887.xml"/><Relationship Id="rId4" Type="http://schemas.openxmlformats.org/officeDocument/2006/relationships/slideLayout" Target="../slideLayouts/slideLayout453.xml"/><Relationship Id="rId9" Type="http://schemas.openxmlformats.org/officeDocument/2006/relationships/slideLayout" Target="../slideLayouts/slideLayout458.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7.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2.xml"/><Relationship Id="rId21" Type="http://schemas.openxmlformats.org/officeDocument/2006/relationships/tags" Target="../tags/tag1933.xml"/><Relationship Id="rId7" Type="http://schemas.openxmlformats.org/officeDocument/2006/relationships/slideLayout" Target="../slideLayouts/slideLayout466.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1.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4.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69.xml"/><Relationship Id="rId19" Type="http://schemas.openxmlformats.org/officeDocument/2006/relationships/tags" Target="../tags/tag1931.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2.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1.xml"/><Relationship Id="rId16" Type="http://schemas.openxmlformats.org/officeDocument/2006/relationships/tags" Target="../tags/tag1976.xml"/><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tags" Target="../tags/tag1971.xml"/><Relationship Id="rId5" Type="http://schemas.openxmlformats.org/officeDocument/2006/relationships/slideLayout" Target="../slideLayouts/slideLayout474.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3.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8.xml"/><Relationship Id="rId21" Type="http://schemas.openxmlformats.org/officeDocument/2006/relationships/tags" Target="../tags/tag1996.xml"/><Relationship Id="rId7" Type="http://schemas.openxmlformats.org/officeDocument/2006/relationships/slideLayout" Target="../slideLayouts/slideLayout482.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7.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0.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5.xml"/><Relationship Id="rId19" Type="http://schemas.openxmlformats.org/officeDocument/2006/relationships/tags" Target="../tags/tag1994.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8.xml"/><Relationship Id="rId21" Type="http://schemas.openxmlformats.org/officeDocument/2006/relationships/tags" Target="../tags/tag2040.xml"/><Relationship Id="rId7" Type="http://schemas.openxmlformats.org/officeDocument/2006/relationships/slideLayout" Target="../slideLayouts/slideLayout492.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7.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0.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5.xml"/><Relationship Id="rId19" Type="http://schemas.openxmlformats.org/officeDocument/2006/relationships/tags" Target="../tags/tag2038.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3.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8.xml"/><Relationship Id="rId21" Type="http://schemas.openxmlformats.org/officeDocument/2006/relationships/tags" Target="../tags/tag2084.xml"/><Relationship Id="rId7" Type="http://schemas.openxmlformats.org/officeDocument/2006/relationships/slideLayout" Target="../slideLayouts/slideLayout502.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7.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6.xml"/><Relationship Id="rId6" Type="http://schemas.openxmlformats.org/officeDocument/2006/relationships/slideLayout" Target="../slideLayouts/slideLayout501.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0.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5.xml"/><Relationship Id="rId19" Type="http://schemas.openxmlformats.org/officeDocument/2006/relationships/tags" Target="../tags/tag2082.xml"/><Relationship Id="rId4" Type="http://schemas.openxmlformats.org/officeDocument/2006/relationships/slideLayout" Target="../slideLayouts/slideLayout499.xml"/><Relationship Id="rId9" Type="http://schemas.openxmlformats.org/officeDocument/2006/relationships/slideLayout" Target="../slideLayouts/slideLayout504.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8.xml"/><Relationship Id="rId21" Type="http://schemas.openxmlformats.org/officeDocument/2006/relationships/tags" Target="../tags/tag2128.xml"/><Relationship Id="rId7" Type="http://schemas.openxmlformats.org/officeDocument/2006/relationships/slideLayout" Target="../slideLayouts/slideLayout512.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7.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0.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5.xml"/><Relationship Id="rId19" Type="http://schemas.openxmlformats.org/officeDocument/2006/relationships/tags" Target="../tags/tag2126.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8.xml"/><Relationship Id="rId21" Type="http://schemas.openxmlformats.org/officeDocument/2006/relationships/tags" Target="../tags/tag2172.xml"/><Relationship Id="rId7" Type="http://schemas.openxmlformats.org/officeDocument/2006/relationships/slideLayout" Target="../slideLayouts/slideLayout522.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7.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0.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5.xml"/><Relationship Id="rId19" Type="http://schemas.openxmlformats.org/officeDocument/2006/relationships/tags" Target="../tags/tag2170.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3.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8.xml"/><Relationship Id="rId21" Type="http://schemas.openxmlformats.org/officeDocument/2006/relationships/tags" Target="../tags/tag2216.xml"/><Relationship Id="rId7" Type="http://schemas.openxmlformats.org/officeDocument/2006/relationships/slideLayout" Target="../slideLayouts/slideLayout532.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7.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6.xml"/><Relationship Id="rId6" Type="http://schemas.openxmlformats.org/officeDocument/2006/relationships/slideLayout" Target="../slideLayouts/slideLayout531.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0.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5.xml"/><Relationship Id="rId19" Type="http://schemas.openxmlformats.org/officeDocument/2006/relationships/tags" Target="../tags/tag2214.xml"/><Relationship Id="rId4" Type="http://schemas.openxmlformats.org/officeDocument/2006/relationships/slideLayout" Target="../slideLayouts/slideLayout529.xml"/><Relationship Id="rId9" Type="http://schemas.openxmlformats.org/officeDocument/2006/relationships/slideLayout" Target="../slideLayouts/slideLayout534.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3.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8.xml"/><Relationship Id="rId21" Type="http://schemas.openxmlformats.org/officeDocument/2006/relationships/tags" Target="../tags/tag2260.xml"/><Relationship Id="rId7" Type="http://schemas.openxmlformats.org/officeDocument/2006/relationships/slideLayout" Target="../slideLayouts/slideLayout542.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7.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6.xml"/><Relationship Id="rId6" Type="http://schemas.openxmlformats.org/officeDocument/2006/relationships/slideLayout" Target="../slideLayouts/slideLayout541.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0.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5.xml"/><Relationship Id="rId19" Type="http://schemas.openxmlformats.org/officeDocument/2006/relationships/tags" Target="../tags/tag2258.xml"/><Relationship Id="rId4" Type="http://schemas.openxmlformats.org/officeDocument/2006/relationships/slideLayout" Target="../slideLayouts/slideLayout539.xml"/><Relationship Id="rId9" Type="http://schemas.openxmlformats.org/officeDocument/2006/relationships/slideLayout" Target="../slideLayouts/slideLayout544.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3.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8.xml"/><Relationship Id="rId21" Type="http://schemas.openxmlformats.org/officeDocument/2006/relationships/tags" Target="../tags/tag2304.xml"/><Relationship Id="rId7" Type="http://schemas.openxmlformats.org/officeDocument/2006/relationships/slideLayout" Target="../slideLayouts/slideLayout552.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7.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0.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5.xml"/><Relationship Id="rId19" Type="http://schemas.openxmlformats.org/officeDocument/2006/relationships/tags" Target="../tags/tag2302.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3.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8.xml"/><Relationship Id="rId21" Type="http://schemas.openxmlformats.org/officeDocument/2006/relationships/tags" Target="../tags/tag2348.xml"/><Relationship Id="rId7" Type="http://schemas.openxmlformats.org/officeDocument/2006/relationships/slideLayout" Target="../slideLayouts/slideLayout562.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7.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0.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5.xml"/><Relationship Id="rId19" Type="http://schemas.openxmlformats.org/officeDocument/2006/relationships/tags" Target="../tags/tag2346.xml"/><Relationship Id="rId4" Type="http://schemas.openxmlformats.org/officeDocument/2006/relationships/slideLayout" Target="../slideLayouts/slideLayout559.xml"/><Relationship Id="rId9" Type="http://schemas.openxmlformats.org/officeDocument/2006/relationships/slideLayout" Target="../slideLayouts/slideLayout564.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8.xml"/><Relationship Id="rId21" Type="http://schemas.openxmlformats.org/officeDocument/2006/relationships/tags" Target="../tags/tag2392.xml"/><Relationship Id="rId7" Type="http://schemas.openxmlformats.org/officeDocument/2006/relationships/slideLayout" Target="../slideLayouts/slideLayout572.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7.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0.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5.xml"/><Relationship Id="rId19" Type="http://schemas.openxmlformats.org/officeDocument/2006/relationships/tags" Target="../tags/tag2390.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8.xml"/><Relationship Id="rId21" Type="http://schemas.openxmlformats.org/officeDocument/2006/relationships/tags" Target="../tags/tag2436.xml"/><Relationship Id="rId7" Type="http://schemas.openxmlformats.org/officeDocument/2006/relationships/slideLayout" Target="../slideLayouts/slideLayout582.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7.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0.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5.xml"/><Relationship Id="rId19" Type="http://schemas.openxmlformats.org/officeDocument/2006/relationships/tags" Target="../tags/tag2434.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3.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8.xml"/><Relationship Id="rId21" Type="http://schemas.openxmlformats.org/officeDocument/2006/relationships/tags" Target="../tags/tag2480.xml"/><Relationship Id="rId7" Type="http://schemas.openxmlformats.org/officeDocument/2006/relationships/slideLayout" Target="../slideLayouts/slideLayout592.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7.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6.xml"/><Relationship Id="rId6" Type="http://schemas.openxmlformats.org/officeDocument/2006/relationships/slideLayout" Target="../slideLayouts/slideLayout591.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0.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5.xml"/><Relationship Id="rId19" Type="http://schemas.openxmlformats.org/officeDocument/2006/relationships/tags" Target="../tags/tag2478.xml"/><Relationship Id="rId4" Type="http://schemas.openxmlformats.org/officeDocument/2006/relationships/slideLayout" Target="../slideLayouts/slideLayout589.xml"/><Relationship Id="rId9" Type="http://schemas.openxmlformats.org/officeDocument/2006/relationships/slideLayout" Target="../slideLayouts/slideLayout594.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3.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8.xml"/><Relationship Id="rId21" Type="http://schemas.openxmlformats.org/officeDocument/2006/relationships/tags" Target="../tags/tag2524.xml"/><Relationship Id="rId7" Type="http://schemas.openxmlformats.org/officeDocument/2006/relationships/slideLayout" Target="../slideLayouts/slideLayout602.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7.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6.xml"/><Relationship Id="rId6" Type="http://schemas.openxmlformats.org/officeDocument/2006/relationships/slideLayout" Target="../slideLayouts/slideLayout601.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0.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5.xml"/><Relationship Id="rId19" Type="http://schemas.openxmlformats.org/officeDocument/2006/relationships/tags" Target="../tags/tag2522.xml"/><Relationship Id="rId4" Type="http://schemas.openxmlformats.org/officeDocument/2006/relationships/slideLayout" Target="../slideLayouts/slideLayout599.xml"/><Relationship Id="rId9" Type="http://schemas.openxmlformats.org/officeDocument/2006/relationships/slideLayout" Target="../slideLayouts/slideLayout604.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3.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8.xml"/><Relationship Id="rId21" Type="http://schemas.openxmlformats.org/officeDocument/2006/relationships/tags" Target="../tags/tag2568.xml"/><Relationship Id="rId7" Type="http://schemas.openxmlformats.org/officeDocument/2006/relationships/slideLayout" Target="../slideLayouts/slideLayout612.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7.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0.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5.xml"/><Relationship Id="rId19" Type="http://schemas.openxmlformats.org/officeDocument/2006/relationships/tags" Target="../tags/tag2566.xml"/><Relationship Id="rId4" Type="http://schemas.openxmlformats.org/officeDocument/2006/relationships/slideLayout" Target="../slideLayouts/slideLayout609.xml"/><Relationship Id="rId9" Type="http://schemas.openxmlformats.org/officeDocument/2006/relationships/slideLayout" Target="../slideLayouts/slideLayout614.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3.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8.xml"/><Relationship Id="rId21" Type="http://schemas.openxmlformats.org/officeDocument/2006/relationships/tags" Target="../tags/tag2612.xml"/><Relationship Id="rId7" Type="http://schemas.openxmlformats.org/officeDocument/2006/relationships/slideLayout" Target="../slideLayouts/slideLayout622.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7.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6.xml"/><Relationship Id="rId6" Type="http://schemas.openxmlformats.org/officeDocument/2006/relationships/slideLayout" Target="../slideLayouts/slideLayout621.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0.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5.xml"/><Relationship Id="rId19" Type="http://schemas.openxmlformats.org/officeDocument/2006/relationships/tags" Target="../tags/tag2610.xml"/><Relationship Id="rId4" Type="http://schemas.openxmlformats.org/officeDocument/2006/relationships/slideLayout" Target="../slideLayouts/slideLayout619.xml"/><Relationship Id="rId9" Type="http://schemas.openxmlformats.org/officeDocument/2006/relationships/slideLayout" Target="../slideLayouts/slideLayout624.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8.xml"/><Relationship Id="rId21" Type="http://schemas.openxmlformats.org/officeDocument/2006/relationships/tags" Target="../tags/tag2656.xml"/><Relationship Id="rId7" Type="http://schemas.openxmlformats.org/officeDocument/2006/relationships/slideLayout" Target="../slideLayouts/slideLayout632.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7.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0.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5.xml"/><Relationship Id="rId19" Type="http://schemas.openxmlformats.org/officeDocument/2006/relationships/tags" Target="../tags/tag2654.xml"/><Relationship Id="rId4" Type="http://schemas.openxmlformats.org/officeDocument/2006/relationships/slideLayout" Target="../slideLayouts/slideLayout629.xml"/><Relationship Id="rId9" Type="http://schemas.openxmlformats.org/officeDocument/2006/relationships/slideLayout" Target="../slideLayouts/slideLayout634.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8.xml"/><Relationship Id="rId21" Type="http://schemas.openxmlformats.org/officeDocument/2006/relationships/tags" Target="../tags/tag2700.xml"/><Relationship Id="rId7" Type="http://schemas.openxmlformats.org/officeDocument/2006/relationships/slideLayout" Target="../slideLayouts/slideLayout642.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7.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0.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5.xml"/><Relationship Id="rId19" Type="http://schemas.openxmlformats.org/officeDocument/2006/relationships/tags" Target="../tags/tag2698.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slideLayout" Target="../slideLayouts/slideLayout45.xml"/><Relationship Id="rId21" Type="http://schemas.openxmlformats.org/officeDocument/2006/relationships/tags" Target="../tags/tag143.xml"/><Relationship Id="rId7" Type="http://schemas.openxmlformats.org/officeDocument/2006/relationships/slideLayout" Target="../slideLayouts/slideLayout49.xml"/><Relationship Id="rId12" Type="http://schemas.openxmlformats.org/officeDocument/2006/relationships/vmlDrawing" Target="../drawings/vmlDrawing25.vml"/><Relationship Id="rId17" Type="http://schemas.openxmlformats.org/officeDocument/2006/relationships/tags" Target="../tags/tag139.xml"/><Relationship Id="rId2" Type="http://schemas.openxmlformats.org/officeDocument/2006/relationships/slideLayout" Target="../slideLayouts/slideLayout4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7.xml"/><Relationship Id="rId15" Type="http://schemas.openxmlformats.org/officeDocument/2006/relationships/tags" Target="../tags/tag13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tags" Target="../tags/tag14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3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8.xml"/><Relationship Id="rId21" Type="http://schemas.openxmlformats.org/officeDocument/2006/relationships/tags" Target="../tags/tag2744.xml"/><Relationship Id="rId7" Type="http://schemas.openxmlformats.org/officeDocument/2006/relationships/slideLayout" Target="../slideLayouts/slideLayout652.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7.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0.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5.xml"/><Relationship Id="rId19" Type="http://schemas.openxmlformats.org/officeDocument/2006/relationships/tags" Target="../tags/tag2742.xml"/><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4.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theme" Target="../theme/theme8.xml"/><Relationship Id="rId12" Type="http://schemas.openxmlformats.org/officeDocument/2006/relationships/tags" Target="../tags/tag183.xml"/><Relationship Id="rId17" Type="http://schemas.openxmlformats.org/officeDocument/2006/relationships/oleObject" Target="../embeddings/oleObject32.bin"/><Relationship Id="rId2" Type="http://schemas.openxmlformats.org/officeDocument/2006/relationships/slideLayout" Target="../slideLayouts/slideLayout54.xml"/><Relationship Id="rId16" Type="http://schemas.openxmlformats.org/officeDocument/2006/relationships/tags" Target="../tags/tag18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82.xml"/><Relationship Id="rId5" Type="http://schemas.openxmlformats.org/officeDocument/2006/relationships/slideLayout" Target="../slideLayouts/slideLayout57.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tags" Target="../tags/tag180.xml"/><Relationship Id="rId14" Type="http://schemas.openxmlformats.org/officeDocument/2006/relationships/tags" Target="../tags/tag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slideLayout" Target="../slideLayouts/slideLayout61.xml"/><Relationship Id="rId21" Type="http://schemas.openxmlformats.org/officeDocument/2006/relationships/tags" Target="../tags/tag207.xml"/><Relationship Id="rId7" Type="http://schemas.openxmlformats.org/officeDocument/2006/relationships/slideLayout" Target="../slideLayouts/slideLayout65.xml"/><Relationship Id="rId12" Type="http://schemas.openxmlformats.org/officeDocument/2006/relationships/vmlDrawing" Target="../drawings/vmlDrawing36.vml"/><Relationship Id="rId17" Type="http://schemas.openxmlformats.org/officeDocument/2006/relationships/tags" Target="../tags/tag203.xml"/><Relationship Id="rId2" Type="http://schemas.openxmlformats.org/officeDocument/2006/relationships/slideLayout" Target="../slideLayouts/slideLayout60.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tags" Target="../tags/tag201.xml"/><Relationship Id="rId23"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tags" Target="../tags/tag20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00.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04"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16"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6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899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8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4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1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0"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69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29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5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4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76"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08"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7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0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5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8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48"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1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0"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4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0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6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6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2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5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8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4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0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6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04"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59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2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8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3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6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2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4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3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6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19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2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69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5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1.xml"/><Relationship Id="rId7" Type="http://schemas.openxmlformats.org/officeDocument/2006/relationships/image" Target="../media/image1.emf"/><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oleObject" Target="../embeddings/oleObject58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4.xml"/></Relationships>
</file>

<file path=ppt/slides/_rels/slide1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5.png"/><Relationship Id="rId2" Type="http://schemas.openxmlformats.org/officeDocument/2006/relationships/tags" Target="../tags/tag2785.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6.png"/><Relationship Id="rId2" Type="http://schemas.openxmlformats.org/officeDocument/2006/relationships/tags" Target="../tags/tag2786.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7.png"/><Relationship Id="rId2" Type="http://schemas.openxmlformats.org/officeDocument/2006/relationships/tags" Target="../tags/tag2787.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24.xml"/><Relationship Id="rId7" Type="http://schemas.openxmlformats.org/officeDocument/2006/relationships/diagramData" Target="../diagrams/data2.xml"/><Relationship Id="rId2" Type="http://schemas.openxmlformats.org/officeDocument/2006/relationships/tags" Target="../tags/tag2788.xml"/><Relationship Id="rId1" Type="http://schemas.openxmlformats.org/officeDocument/2006/relationships/vmlDrawing" Target="../drawings/vmlDrawing572.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594.bin"/><Relationship Id="rId10" Type="http://schemas.openxmlformats.org/officeDocument/2006/relationships/diagramColors" Target="../diagrams/colors2.xml"/><Relationship Id="rId4" Type="http://schemas.openxmlformats.org/officeDocument/2006/relationships/notesSlide" Target="../notesSlides/notesSlide12.xml"/><Relationship Id="rId9"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9.png"/><Relationship Id="rId2" Type="http://schemas.openxmlformats.org/officeDocument/2006/relationships/tags" Target="../tags/tag2789.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0.png"/><Relationship Id="rId2" Type="http://schemas.openxmlformats.org/officeDocument/2006/relationships/tags" Target="../tags/tag2790.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1.png"/><Relationship Id="rId2" Type="http://schemas.openxmlformats.org/officeDocument/2006/relationships/tags" Target="../tags/tag2791.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24.xml"/><Relationship Id="rId7" Type="http://schemas.openxmlformats.org/officeDocument/2006/relationships/diagramData" Target="../diagrams/data3.xml"/><Relationship Id="rId12" Type="http://schemas.openxmlformats.org/officeDocument/2006/relationships/image" Target="../media/image72.png"/><Relationship Id="rId2" Type="http://schemas.openxmlformats.org/officeDocument/2006/relationships/tags" Target="../tags/tag2792.xml"/><Relationship Id="rId1" Type="http://schemas.openxmlformats.org/officeDocument/2006/relationships/vmlDrawing" Target="../drawings/vmlDrawing576.vml"/><Relationship Id="rId6" Type="http://schemas.openxmlformats.org/officeDocument/2006/relationships/image" Target="../media/image1.emf"/><Relationship Id="rId11" Type="http://schemas.microsoft.com/office/2007/relationships/diagramDrawing" Target="../diagrams/drawing3.xml"/><Relationship Id="rId5" Type="http://schemas.openxmlformats.org/officeDocument/2006/relationships/oleObject" Target="../embeddings/oleObject598.bin"/><Relationship Id="rId10" Type="http://schemas.openxmlformats.org/officeDocument/2006/relationships/diagramColors" Target="../diagrams/colors3.xml"/><Relationship Id="rId4" Type="http://schemas.openxmlformats.org/officeDocument/2006/relationships/notesSlide" Target="../notesSlides/notesSlide16.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3.png"/><Relationship Id="rId2" Type="http://schemas.openxmlformats.org/officeDocument/2006/relationships/tags" Target="../tags/tag2793.xml"/><Relationship Id="rId1" Type="http://schemas.openxmlformats.org/officeDocument/2006/relationships/vmlDrawing" Target="../drawings/vmlDrawing577.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4.png"/><Relationship Id="rId2" Type="http://schemas.openxmlformats.org/officeDocument/2006/relationships/tags" Target="../tags/tag2794.xml"/><Relationship Id="rId1" Type="http://schemas.openxmlformats.org/officeDocument/2006/relationships/vmlDrawing" Target="../drawings/vmlDrawing578.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1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5.png"/><Relationship Id="rId2" Type="http://schemas.openxmlformats.org/officeDocument/2006/relationships/tags" Target="../tags/tag2795.xml"/><Relationship Id="rId1" Type="http://schemas.openxmlformats.org/officeDocument/2006/relationships/vmlDrawing" Target="../drawings/vmlDrawing579.vml"/><Relationship Id="rId6" Type="http://schemas.openxmlformats.org/officeDocument/2006/relationships/image" Target="../media/image1.emf"/><Relationship Id="rId5" Type="http://schemas.openxmlformats.org/officeDocument/2006/relationships/oleObject" Target="../embeddings/oleObject601.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6.png"/><Relationship Id="rId2" Type="http://schemas.openxmlformats.org/officeDocument/2006/relationships/tags" Target="../tags/tag2796.xml"/><Relationship Id="rId1" Type="http://schemas.openxmlformats.org/officeDocument/2006/relationships/vmlDrawing" Target="../drawings/vmlDrawing580.vml"/><Relationship Id="rId6" Type="http://schemas.openxmlformats.org/officeDocument/2006/relationships/image" Target="../media/image1.emf"/><Relationship Id="rId5" Type="http://schemas.openxmlformats.org/officeDocument/2006/relationships/oleObject" Target="../embeddings/oleObject602.bin"/><Relationship Id="rId4" Type="http://schemas.openxmlformats.org/officeDocument/2006/relationships/notesSlide" Target="../notesSlides/notesSlide2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7.png"/><Relationship Id="rId2" Type="http://schemas.openxmlformats.org/officeDocument/2006/relationships/tags" Target="../tags/tag2797.xml"/><Relationship Id="rId1" Type="http://schemas.openxmlformats.org/officeDocument/2006/relationships/vmlDrawing" Target="../drawings/vmlDrawing581.vml"/><Relationship Id="rId6" Type="http://schemas.openxmlformats.org/officeDocument/2006/relationships/image" Target="../media/image1.emf"/><Relationship Id="rId5" Type="http://schemas.openxmlformats.org/officeDocument/2006/relationships/oleObject" Target="../embeddings/oleObject603.bin"/><Relationship Id="rId4" Type="http://schemas.openxmlformats.org/officeDocument/2006/relationships/notesSlide" Target="../notesSlides/notesSlide21.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24.xml"/><Relationship Id="rId7" Type="http://schemas.openxmlformats.org/officeDocument/2006/relationships/diagramData" Target="../diagrams/data4.xml"/><Relationship Id="rId2" Type="http://schemas.openxmlformats.org/officeDocument/2006/relationships/tags" Target="../tags/tag2798.xml"/><Relationship Id="rId1" Type="http://schemas.openxmlformats.org/officeDocument/2006/relationships/vmlDrawing" Target="../drawings/vmlDrawing582.vml"/><Relationship Id="rId6" Type="http://schemas.openxmlformats.org/officeDocument/2006/relationships/image" Target="../media/image1.emf"/><Relationship Id="rId11" Type="http://schemas.microsoft.com/office/2007/relationships/diagramDrawing" Target="../diagrams/drawing4.xml"/><Relationship Id="rId5" Type="http://schemas.openxmlformats.org/officeDocument/2006/relationships/oleObject" Target="../embeddings/oleObject604.bin"/><Relationship Id="rId10" Type="http://schemas.openxmlformats.org/officeDocument/2006/relationships/diagramColors" Target="../diagrams/colors4.xml"/><Relationship Id="rId4" Type="http://schemas.openxmlformats.org/officeDocument/2006/relationships/notesSlide" Target="../notesSlides/notesSlide22.xml"/><Relationship Id="rId9" Type="http://schemas.openxmlformats.org/officeDocument/2006/relationships/diagramQuickStyle" Target="../diagrams/quickStyle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8.png"/><Relationship Id="rId2" Type="http://schemas.openxmlformats.org/officeDocument/2006/relationships/tags" Target="../tags/tag2799.xml"/><Relationship Id="rId1" Type="http://schemas.openxmlformats.org/officeDocument/2006/relationships/vmlDrawing" Target="../drawings/vmlDrawing583.vml"/><Relationship Id="rId6" Type="http://schemas.openxmlformats.org/officeDocument/2006/relationships/image" Target="../media/image1.emf"/><Relationship Id="rId5" Type="http://schemas.openxmlformats.org/officeDocument/2006/relationships/oleObject" Target="../embeddings/oleObject605.bin"/><Relationship Id="rId4" Type="http://schemas.openxmlformats.org/officeDocument/2006/relationships/notesSlide" Target="../notesSlides/notesSlide2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9.png"/><Relationship Id="rId2" Type="http://schemas.openxmlformats.org/officeDocument/2006/relationships/tags" Target="../tags/tag2800.xml"/><Relationship Id="rId1" Type="http://schemas.openxmlformats.org/officeDocument/2006/relationships/vmlDrawing" Target="../drawings/vmlDrawing584.vml"/><Relationship Id="rId6" Type="http://schemas.openxmlformats.org/officeDocument/2006/relationships/image" Target="../media/image1.emf"/><Relationship Id="rId5" Type="http://schemas.openxmlformats.org/officeDocument/2006/relationships/oleObject" Target="../embeddings/oleObject606.bin"/><Relationship Id="rId4" Type="http://schemas.openxmlformats.org/officeDocument/2006/relationships/notesSlide" Target="../notesSlides/notesSlide2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0.png"/><Relationship Id="rId2" Type="http://schemas.openxmlformats.org/officeDocument/2006/relationships/tags" Target="../tags/tag2801.xml"/><Relationship Id="rId1" Type="http://schemas.openxmlformats.org/officeDocument/2006/relationships/vmlDrawing" Target="../drawings/vmlDrawing585.vml"/><Relationship Id="rId6" Type="http://schemas.openxmlformats.org/officeDocument/2006/relationships/image" Target="../media/image1.emf"/><Relationship Id="rId5" Type="http://schemas.openxmlformats.org/officeDocument/2006/relationships/oleObject" Target="../embeddings/oleObject607.bin"/><Relationship Id="rId4" Type="http://schemas.openxmlformats.org/officeDocument/2006/relationships/notesSlide" Target="../notesSlides/notesSlide2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1.png"/><Relationship Id="rId2" Type="http://schemas.openxmlformats.org/officeDocument/2006/relationships/tags" Target="../tags/tag2802.xml"/><Relationship Id="rId1" Type="http://schemas.openxmlformats.org/officeDocument/2006/relationships/vmlDrawing" Target="../drawings/vmlDrawing586.vml"/><Relationship Id="rId6" Type="http://schemas.openxmlformats.org/officeDocument/2006/relationships/image" Target="../media/image1.emf"/><Relationship Id="rId5" Type="http://schemas.openxmlformats.org/officeDocument/2006/relationships/oleObject" Target="../embeddings/oleObject608.bin"/><Relationship Id="rId4"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2.png"/><Relationship Id="rId2" Type="http://schemas.openxmlformats.org/officeDocument/2006/relationships/tags" Target="../tags/tag2803.xml"/><Relationship Id="rId1" Type="http://schemas.openxmlformats.org/officeDocument/2006/relationships/vmlDrawing" Target="../drawings/vmlDrawing587.vml"/><Relationship Id="rId6" Type="http://schemas.openxmlformats.org/officeDocument/2006/relationships/image" Target="../media/image1.emf"/><Relationship Id="rId5" Type="http://schemas.openxmlformats.org/officeDocument/2006/relationships/oleObject" Target="../embeddings/oleObject609.bin"/><Relationship Id="rId4" Type="http://schemas.openxmlformats.org/officeDocument/2006/relationships/notesSlide" Target="../notesSlides/notesSlide2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3.png"/><Relationship Id="rId2" Type="http://schemas.openxmlformats.org/officeDocument/2006/relationships/tags" Target="../tags/tag2804.xml"/><Relationship Id="rId1" Type="http://schemas.openxmlformats.org/officeDocument/2006/relationships/vmlDrawing" Target="../drawings/vmlDrawing588.vml"/><Relationship Id="rId6" Type="http://schemas.openxmlformats.org/officeDocument/2006/relationships/image" Target="../media/image1.emf"/><Relationship Id="rId5" Type="http://schemas.openxmlformats.org/officeDocument/2006/relationships/oleObject" Target="../embeddings/oleObject610.bin"/><Relationship Id="rId4" Type="http://schemas.openxmlformats.org/officeDocument/2006/relationships/notesSlide" Target="../notesSlides/notesSlide28.xm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124.xml"/><Relationship Id="rId7" Type="http://schemas.openxmlformats.org/officeDocument/2006/relationships/diagramData" Target="../diagrams/data5.xml"/><Relationship Id="rId2" Type="http://schemas.openxmlformats.org/officeDocument/2006/relationships/tags" Target="../tags/tag2805.xml"/><Relationship Id="rId1" Type="http://schemas.openxmlformats.org/officeDocument/2006/relationships/vmlDrawing" Target="../drawings/vmlDrawing589.vml"/><Relationship Id="rId6" Type="http://schemas.openxmlformats.org/officeDocument/2006/relationships/image" Target="../media/image1.emf"/><Relationship Id="rId11" Type="http://schemas.microsoft.com/office/2007/relationships/diagramDrawing" Target="../diagrams/drawing5.xml"/><Relationship Id="rId5" Type="http://schemas.openxmlformats.org/officeDocument/2006/relationships/oleObject" Target="../embeddings/oleObject611.bin"/><Relationship Id="rId10" Type="http://schemas.openxmlformats.org/officeDocument/2006/relationships/diagramColors" Target="../diagrams/colors5.xml"/><Relationship Id="rId4" Type="http://schemas.openxmlformats.org/officeDocument/2006/relationships/notesSlide" Target="../notesSlides/notesSlide29.xml"/><Relationship Id="rId9" Type="http://schemas.openxmlformats.org/officeDocument/2006/relationships/diagramQuickStyle" Target="../diagrams/quickStyle5.xml"/></Relationships>
</file>

<file path=ppt/slides/_rels/slide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24.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24.xml"/><Relationship Id="rId7" Type="http://schemas.openxmlformats.org/officeDocument/2006/relationships/diagramData" Target="../diagrams/data6.xml"/><Relationship Id="rId2" Type="http://schemas.openxmlformats.org/officeDocument/2006/relationships/tags" Target="../tags/tag2806.xml"/><Relationship Id="rId1" Type="http://schemas.openxmlformats.org/officeDocument/2006/relationships/vmlDrawing" Target="../drawings/vmlDrawing590.vml"/><Relationship Id="rId6" Type="http://schemas.openxmlformats.org/officeDocument/2006/relationships/image" Target="../media/image1.emf"/><Relationship Id="rId11" Type="http://schemas.microsoft.com/office/2007/relationships/diagramDrawing" Target="../diagrams/drawing6.xml"/><Relationship Id="rId5" Type="http://schemas.openxmlformats.org/officeDocument/2006/relationships/oleObject" Target="../embeddings/oleObject612.bin"/><Relationship Id="rId10" Type="http://schemas.openxmlformats.org/officeDocument/2006/relationships/diagramColors" Target="../diagrams/colors6.xml"/><Relationship Id="rId4" Type="http://schemas.openxmlformats.org/officeDocument/2006/relationships/notesSlide" Target="../notesSlides/notesSlide30.xml"/><Relationship Id="rId9" Type="http://schemas.openxmlformats.org/officeDocument/2006/relationships/diagramQuickStyle" Target="../diagrams/quickStyle6.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124.xml"/><Relationship Id="rId7" Type="http://schemas.openxmlformats.org/officeDocument/2006/relationships/diagramData" Target="../diagrams/data7.xml"/><Relationship Id="rId2" Type="http://schemas.openxmlformats.org/officeDocument/2006/relationships/tags" Target="../tags/tag2807.xml"/><Relationship Id="rId1" Type="http://schemas.openxmlformats.org/officeDocument/2006/relationships/vmlDrawing" Target="../drawings/vmlDrawing591.vml"/><Relationship Id="rId6" Type="http://schemas.openxmlformats.org/officeDocument/2006/relationships/image" Target="../media/image1.emf"/><Relationship Id="rId11" Type="http://schemas.microsoft.com/office/2007/relationships/diagramDrawing" Target="../diagrams/drawing7.xml"/><Relationship Id="rId5" Type="http://schemas.openxmlformats.org/officeDocument/2006/relationships/oleObject" Target="../embeddings/oleObject613.bin"/><Relationship Id="rId10" Type="http://schemas.openxmlformats.org/officeDocument/2006/relationships/diagramColors" Target="../diagrams/colors7.xml"/><Relationship Id="rId4" Type="http://schemas.openxmlformats.org/officeDocument/2006/relationships/notesSlide" Target="../notesSlides/notesSlide31.xml"/><Relationship Id="rId9" Type="http://schemas.openxmlformats.org/officeDocument/2006/relationships/diagramQuickStyle" Target="../diagrams/quickStyle7.xml"/></Relationships>
</file>

<file path=ppt/slides/_rels/slide42.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slideLayout" Target="../slideLayouts/slideLayout124.xml"/><Relationship Id="rId7" Type="http://schemas.openxmlformats.org/officeDocument/2006/relationships/diagramData" Target="../diagrams/data8.xml"/><Relationship Id="rId2" Type="http://schemas.openxmlformats.org/officeDocument/2006/relationships/tags" Target="../tags/tag2808.xml"/><Relationship Id="rId1" Type="http://schemas.openxmlformats.org/officeDocument/2006/relationships/vmlDrawing" Target="../drawings/vmlDrawing592.vml"/><Relationship Id="rId6" Type="http://schemas.openxmlformats.org/officeDocument/2006/relationships/image" Target="../media/image1.emf"/><Relationship Id="rId11" Type="http://schemas.microsoft.com/office/2007/relationships/diagramDrawing" Target="../diagrams/drawing8.xml"/><Relationship Id="rId5" Type="http://schemas.openxmlformats.org/officeDocument/2006/relationships/oleObject" Target="../embeddings/oleObject614.bin"/><Relationship Id="rId10" Type="http://schemas.openxmlformats.org/officeDocument/2006/relationships/diagramColors" Target="../diagrams/colors8.xml"/><Relationship Id="rId4" Type="http://schemas.openxmlformats.org/officeDocument/2006/relationships/notesSlide" Target="../notesSlides/notesSlide32.xml"/><Relationship Id="rId9" Type="http://schemas.openxmlformats.org/officeDocument/2006/relationships/diagramQuickStyle" Target="../diagrams/quickStyle8.xml"/></Relationships>
</file>

<file path=ppt/slides/_rels/slide43.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124.xml"/><Relationship Id="rId7" Type="http://schemas.openxmlformats.org/officeDocument/2006/relationships/diagramData" Target="../diagrams/data9.xml"/><Relationship Id="rId2" Type="http://schemas.openxmlformats.org/officeDocument/2006/relationships/tags" Target="../tags/tag2809.xml"/><Relationship Id="rId1" Type="http://schemas.openxmlformats.org/officeDocument/2006/relationships/vmlDrawing" Target="../drawings/vmlDrawing593.vml"/><Relationship Id="rId6" Type="http://schemas.openxmlformats.org/officeDocument/2006/relationships/image" Target="../media/image1.emf"/><Relationship Id="rId11" Type="http://schemas.microsoft.com/office/2007/relationships/diagramDrawing" Target="../diagrams/drawing9.xml"/><Relationship Id="rId5" Type="http://schemas.openxmlformats.org/officeDocument/2006/relationships/oleObject" Target="../embeddings/oleObject615.bin"/><Relationship Id="rId10" Type="http://schemas.openxmlformats.org/officeDocument/2006/relationships/diagramColors" Target="../diagrams/colors9.xml"/><Relationship Id="rId4" Type="http://schemas.openxmlformats.org/officeDocument/2006/relationships/notesSlide" Target="../notesSlides/notesSlide33.xml"/><Relationship Id="rId9" Type="http://schemas.openxmlformats.org/officeDocument/2006/relationships/diagramQuickStyle" Target="../diagrams/quickStyle9.xml"/></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124.xml"/><Relationship Id="rId7" Type="http://schemas.openxmlformats.org/officeDocument/2006/relationships/diagramData" Target="../diagrams/data10.xml"/><Relationship Id="rId2" Type="http://schemas.openxmlformats.org/officeDocument/2006/relationships/tags" Target="../tags/tag2810.xml"/><Relationship Id="rId1" Type="http://schemas.openxmlformats.org/officeDocument/2006/relationships/vmlDrawing" Target="../drawings/vmlDrawing594.vml"/><Relationship Id="rId6" Type="http://schemas.openxmlformats.org/officeDocument/2006/relationships/image" Target="../media/image1.emf"/><Relationship Id="rId11" Type="http://schemas.microsoft.com/office/2007/relationships/diagramDrawing" Target="../diagrams/drawing10.xml"/><Relationship Id="rId5" Type="http://schemas.openxmlformats.org/officeDocument/2006/relationships/oleObject" Target="../embeddings/oleObject616.bin"/><Relationship Id="rId10" Type="http://schemas.openxmlformats.org/officeDocument/2006/relationships/diagramColors" Target="../diagrams/colors10.xml"/><Relationship Id="rId4" Type="http://schemas.openxmlformats.org/officeDocument/2006/relationships/notesSlide" Target="../notesSlides/notesSlide34.xml"/><Relationship Id="rId9" Type="http://schemas.openxmlformats.org/officeDocument/2006/relationships/diagramQuickStyle" Target="../diagrams/quickStyle10.xml"/></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124.xml"/><Relationship Id="rId7" Type="http://schemas.openxmlformats.org/officeDocument/2006/relationships/diagramData" Target="../diagrams/data11.xml"/><Relationship Id="rId2" Type="http://schemas.openxmlformats.org/officeDocument/2006/relationships/tags" Target="../tags/tag2811.xml"/><Relationship Id="rId1" Type="http://schemas.openxmlformats.org/officeDocument/2006/relationships/vmlDrawing" Target="../drawings/vmlDrawing595.vml"/><Relationship Id="rId6" Type="http://schemas.openxmlformats.org/officeDocument/2006/relationships/image" Target="../media/image1.emf"/><Relationship Id="rId11" Type="http://schemas.microsoft.com/office/2007/relationships/diagramDrawing" Target="../diagrams/drawing11.xml"/><Relationship Id="rId5" Type="http://schemas.openxmlformats.org/officeDocument/2006/relationships/oleObject" Target="../embeddings/oleObject617.bin"/><Relationship Id="rId10" Type="http://schemas.openxmlformats.org/officeDocument/2006/relationships/diagramColors" Target="../diagrams/colors11.xml"/><Relationship Id="rId4" Type="http://schemas.openxmlformats.org/officeDocument/2006/relationships/notesSlide" Target="../notesSlides/notesSlide35.xml"/><Relationship Id="rId9" Type="http://schemas.openxmlformats.org/officeDocument/2006/relationships/diagramQuickStyle" Target="../diagrams/quickStyle1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90.png"/><Relationship Id="rId2" Type="http://schemas.openxmlformats.org/officeDocument/2006/relationships/tags" Target="../tags/tag2812.xml"/><Relationship Id="rId1" Type="http://schemas.openxmlformats.org/officeDocument/2006/relationships/vmlDrawing" Target="../drawings/vmlDrawing596.vml"/><Relationship Id="rId6" Type="http://schemas.openxmlformats.org/officeDocument/2006/relationships/image" Target="../media/image1.emf"/><Relationship Id="rId5" Type="http://schemas.openxmlformats.org/officeDocument/2006/relationships/oleObject" Target="../embeddings/oleObject618.bin"/><Relationship Id="rId4" Type="http://schemas.openxmlformats.org/officeDocument/2006/relationships/notesSlide" Target="../notesSlides/notesSlide36.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slideLayout" Target="../slideLayouts/slideLayout124.xml"/><Relationship Id="rId7" Type="http://schemas.openxmlformats.org/officeDocument/2006/relationships/diagramData" Target="../diagrams/data12.xml"/><Relationship Id="rId2" Type="http://schemas.openxmlformats.org/officeDocument/2006/relationships/tags" Target="../tags/tag2813.xml"/><Relationship Id="rId1" Type="http://schemas.openxmlformats.org/officeDocument/2006/relationships/vmlDrawing" Target="../drawings/vmlDrawing597.vml"/><Relationship Id="rId6" Type="http://schemas.openxmlformats.org/officeDocument/2006/relationships/image" Target="../media/image1.emf"/><Relationship Id="rId11" Type="http://schemas.microsoft.com/office/2007/relationships/diagramDrawing" Target="../diagrams/drawing12.xml"/><Relationship Id="rId5" Type="http://schemas.openxmlformats.org/officeDocument/2006/relationships/oleObject" Target="../embeddings/oleObject619.bin"/><Relationship Id="rId10" Type="http://schemas.openxmlformats.org/officeDocument/2006/relationships/diagramColors" Target="../diagrams/colors12.xml"/><Relationship Id="rId4" Type="http://schemas.openxmlformats.org/officeDocument/2006/relationships/notesSlide" Target="../notesSlides/notesSlide37.xml"/><Relationship Id="rId9" Type="http://schemas.openxmlformats.org/officeDocument/2006/relationships/diagramQuickStyle" Target="../diagrams/quickStyle12.xml"/></Relationships>
</file>

<file path=ppt/slides/_rels/slide48.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slideLayout" Target="../slideLayouts/slideLayout124.xml"/><Relationship Id="rId7" Type="http://schemas.openxmlformats.org/officeDocument/2006/relationships/diagramData" Target="../diagrams/data13.xml"/><Relationship Id="rId2" Type="http://schemas.openxmlformats.org/officeDocument/2006/relationships/tags" Target="../tags/tag2814.xml"/><Relationship Id="rId1" Type="http://schemas.openxmlformats.org/officeDocument/2006/relationships/vmlDrawing" Target="../drawings/vmlDrawing598.vml"/><Relationship Id="rId6" Type="http://schemas.openxmlformats.org/officeDocument/2006/relationships/image" Target="../media/image1.emf"/><Relationship Id="rId11" Type="http://schemas.microsoft.com/office/2007/relationships/diagramDrawing" Target="../diagrams/drawing13.xml"/><Relationship Id="rId5" Type="http://schemas.openxmlformats.org/officeDocument/2006/relationships/oleObject" Target="../embeddings/oleObject620.bin"/><Relationship Id="rId10" Type="http://schemas.openxmlformats.org/officeDocument/2006/relationships/diagramColors" Target="../diagrams/colors13.xml"/><Relationship Id="rId4" Type="http://schemas.openxmlformats.org/officeDocument/2006/relationships/notesSlide" Target="../notesSlides/notesSlide38.xml"/><Relationship Id="rId9" Type="http://schemas.openxmlformats.org/officeDocument/2006/relationships/diagramQuickStyle" Target="../diagrams/quickStyle13.xml"/></Relationships>
</file>

<file path=ppt/slides/_rels/slide49.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slideLayout" Target="../slideLayouts/slideLayout124.xml"/><Relationship Id="rId7" Type="http://schemas.openxmlformats.org/officeDocument/2006/relationships/diagramData" Target="../diagrams/data14.xml"/><Relationship Id="rId2" Type="http://schemas.openxmlformats.org/officeDocument/2006/relationships/tags" Target="../tags/tag2815.xml"/><Relationship Id="rId1" Type="http://schemas.openxmlformats.org/officeDocument/2006/relationships/vmlDrawing" Target="../drawings/vmlDrawing599.vml"/><Relationship Id="rId6" Type="http://schemas.openxmlformats.org/officeDocument/2006/relationships/image" Target="../media/image1.emf"/><Relationship Id="rId11" Type="http://schemas.microsoft.com/office/2007/relationships/diagramDrawing" Target="../diagrams/drawing14.xml"/><Relationship Id="rId5" Type="http://schemas.openxmlformats.org/officeDocument/2006/relationships/oleObject" Target="../embeddings/oleObject621.bin"/><Relationship Id="rId10" Type="http://schemas.openxmlformats.org/officeDocument/2006/relationships/diagramColors" Target="../diagrams/colors14.xml"/><Relationship Id="rId4" Type="http://schemas.openxmlformats.org/officeDocument/2006/relationships/notesSlide" Target="../notesSlides/notesSlide39.xml"/><Relationship Id="rId9" Type="http://schemas.openxmlformats.org/officeDocument/2006/relationships/diagramQuickStyle" Target="../diagrams/quickStyle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93.png"/><Relationship Id="rId2" Type="http://schemas.openxmlformats.org/officeDocument/2006/relationships/tags" Target="../tags/tag2816.xml"/><Relationship Id="rId1" Type="http://schemas.openxmlformats.org/officeDocument/2006/relationships/vmlDrawing" Target="../drawings/vmlDrawing600.vml"/><Relationship Id="rId6" Type="http://schemas.openxmlformats.org/officeDocument/2006/relationships/image" Target="../media/image1.emf"/><Relationship Id="rId5" Type="http://schemas.openxmlformats.org/officeDocument/2006/relationships/oleObject" Target="../embeddings/oleObject622.bin"/><Relationship Id="rId4" Type="http://schemas.openxmlformats.org/officeDocument/2006/relationships/notesSlide" Target="../notesSlides/notesSlide40.xml"/></Relationships>
</file>

<file path=ppt/slides/_rels/slide51.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slideLayout" Target="../slideLayouts/slideLayout124.xml"/><Relationship Id="rId7" Type="http://schemas.openxmlformats.org/officeDocument/2006/relationships/diagramData" Target="../diagrams/data15.xml"/><Relationship Id="rId2" Type="http://schemas.openxmlformats.org/officeDocument/2006/relationships/tags" Target="../tags/tag2817.xml"/><Relationship Id="rId1" Type="http://schemas.openxmlformats.org/officeDocument/2006/relationships/vmlDrawing" Target="../drawings/vmlDrawing601.vml"/><Relationship Id="rId6" Type="http://schemas.openxmlformats.org/officeDocument/2006/relationships/image" Target="../media/image1.emf"/><Relationship Id="rId11" Type="http://schemas.microsoft.com/office/2007/relationships/diagramDrawing" Target="../diagrams/drawing15.xml"/><Relationship Id="rId5" Type="http://schemas.openxmlformats.org/officeDocument/2006/relationships/oleObject" Target="../embeddings/oleObject623.bin"/><Relationship Id="rId10" Type="http://schemas.openxmlformats.org/officeDocument/2006/relationships/diagramColors" Target="../diagrams/colors15.xml"/><Relationship Id="rId4" Type="http://schemas.openxmlformats.org/officeDocument/2006/relationships/notesSlide" Target="../notesSlides/notesSlide41.xml"/><Relationship Id="rId9" Type="http://schemas.openxmlformats.org/officeDocument/2006/relationships/diagramQuickStyle" Target="../diagrams/quickStyle15.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slideLayout" Target="../slideLayouts/slideLayout124.xml"/><Relationship Id="rId7" Type="http://schemas.openxmlformats.org/officeDocument/2006/relationships/diagramData" Target="../diagrams/data16.xml"/><Relationship Id="rId2" Type="http://schemas.openxmlformats.org/officeDocument/2006/relationships/tags" Target="../tags/tag2818.xml"/><Relationship Id="rId1" Type="http://schemas.openxmlformats.org/officeDocument/2006/relationships/vmlDrawing" Target="../drawings/vmlDrawing602.vml"/><Relationship Id="rId6" Type="http://schemas.openxmlformats.org/officeDocument/2006/relationships/image" Target="../media/image1.emf"/><Relationship Id="rId11" Type="http://schemas.microsoft.com/office/2007/relationships/diagramDrawing" Target="../diagrams/drawing16.xml"/><Relationship Id="rId5" Type="http://schemas.openxmlformats.org/officeDocument/2006/relationships/oleObject" Target="../embeddings/oleObject624.bin"/><Relationship Id="rId10" Type="http://schemas.openxmlformats.org/officeDocument/2006/relationships/diagramColors" Target="../diagrams/colors16.xml"/><Relationship Id="rId4" Type="http://schemas.openxmlformats.org/officeDocument/2006/relationships/notesSlide" Target="../notesSlides/notesSlide42.xml"/><Relationship Id="rId9" Type="http://schemas.openxmlformats.org/officeDocument/2006/relationships/diagramQuickStyle" Target="../diagrams/quickStyle16.xml"/></Relationships>
</file>

<file path=ppt/slides/_rels/slide53.xml.rels><?xml version="1.0" encoding="UTF-8" standalone="yes"?>
<Relationships xmlns="http://schemas.openxmlformats.org/package/2006/relationships"><Relationship Id="rId8" Type="http://schemas.openxmlformats.org/officeDocument/2006/relationships/diagramLayout" Target="../diagrams/layout17.xml"/><Relationship Id="rId3" Type="http://schemas.openxmlformats.org/officeDocument/2006/relationships/slideLayout" Target="../slideLayouts/slideLayout124.xml"/><Relationship Id="rId7" Type="http://schemas.openxmlformats.org/officeDocument/2006/relationships/diagramData" Target="../diagrams/data17.xml"/><Relationship Id="rId2" Type="http://schemas.openxmlformats.org/officeDocument/2006/relationships/tags" Target="../tags/tag2819.xml"/><Relationship Id="rId1" Type="http://schemas.openxmlformats.org/officeDocument/2006/relationships/vmlDrawing" Target="../drawings/vmlDrawing603.vml"/><Relationship Id="rId6" Type="http://schemas.openxmlformats.org/officeDocument/2006/relationships/image" Target="../media/image1.emf"/><Relationship Id="rId11" Type="http://schemas.microsoft.com/office/2007/relationships/diagramDrawing" Target="../diagrams/drawing17.xml"/><Relationship Id="rId5" Type="http://schemas.openxmlformats.org/officeDocument/2006/relationships/oleObject" Target="../embeddings/oleObject625.bin"/><Relationship Id="rId10" Type="http://schemas.openxmlformats.org/officeDocument/2006/relationships/diagramColors" Target="../diagrams/colors17.xml"/><Relationship Id="rId4" Type="http://schemas.openxmlformats.org/officeDocument/2006/relationships/notesSlide" Target="../notesSlides/notesSlide43.xml"/><Relationship Id="rId9" Type="http://schemas.openxmlformats.org/officeDocument/2006/relationships/diagramQuickStyle" Target="../diagrams/quickStyle17.xml"/></Relationships>
</file>

<file path=ppt/slides/_rels/slide54.xml.rels><?xml version="1.0" encoding="UTF-8" standalone="yes"?>
<Relationships xmlns="http://schemas.openxmlformats.org/package/2006/relationships"><Relationship Id="rId8" Type="http://schemas.openxmlformats.org/officeDocument/2006/relationships/diagramLayout" Target="../diagrams/layout18.xml"/><Relationship Id="rId3" Type="http://schemas.openxmlformats.org/officeDocument/2006/relationships/slideLayout" Target="../slideLayouts/slideLayout124.xml"/><Relationship Id="rId7" Type="http://schemas.openxmlformats.org/officeDocument/2006/relationships/diagramData" Target="../diagrams/data18.xml"/><Relationship Id="rId2" Type="http://schemas.openxmlformats.org/officeDocument/2006/relationships/tags" Target="../tags/tag2820.xml"/><Relationship Id="rId1" Type="http://schemas.openxmlformats.org/officeDocument/2006/relationships/vmlDrawing" Target="../drawings/vmlDrawing604.vml"/><Relationship Id="rId6" Type="http://schemas.openxmlformats.org/officeDocument/2006/relationships/image" Target="../media/image1.emf"/><Relationship Id="rId11" Type="http://schemas.microsoft.com/office/2007/relationships/diagramDrawing" Target="../diagrams/drawing18.xml"/><Relationship Id="rId5" Type="http://schemas.openxmlformats.org/officeDocument/2006/relationships/oleObject" Target="../embeddings/oleObject626.bin"/><Relationship Id="rId10" Type="http://schemas.openxmlformats.org/officeDocument/2006/relationships/diagramColors" Target="../diagrams/colors18.xml"/><Relationship Id="rId4" Type="http://schemas.openxmlformats.org/officeDocument/2006/relationships/notesSlide" Target="../notesSlides/notesSlide44.xml"/><Relationship Id="rId9" Type="http://schemas.openxmlformats.org/officeDocument/2006/relationships/diagramQuickStyle" Target="../diagrams/quickStyle18.xml"/></Relationships>
</file>

<file path=ppt/slides/_rels/slide55.xml.rels><?xml version="1.0" encoding="UTF-8" standalone="yes"?>
<Relationships xmlns="http://schemas.openxmlformats.org/package/2006/relationships"><Relationship Id="rId8" Type="http://schemas.openxmlformats.org/officeDocument/2006/relationships/diagramLayout" Target="../diagrams/layout19.xml"/><Relationship Id="rId3" Type="http://schemas.openxmlformats.org/officeDocument/2006/relationships/slideLayout" Target="../slideLayouts/slideLayout124.xml"/><Relationship Id="rId7" Type="http://schemas.openxmlformats.org/officeDocument/2006/relationships/diagramData" Target="../diagrams/data19.xml"/><Relationship Id="rId2" Type="http://schemas.openxmlformats.org/officeDocument/2006/relationships/tags" Target="../tags/tag2821.xml"/><Relationship Id="rId1" Type="http://schemas.openxmlformats.org/officeDocument/2006/relationships/vmlDrawing" Target="../drawings/vmlDrawing605.vml"/><Relationship Id="rId6" Type="http://schemas.openxmlformats.org/officeDocument/2006/relationships/image" Target="../media/image1.emf"/><Relationship Id="rId11" Type="http://schemas.microsoft.com/office/2007/relationships/diagramDrawing" Target="../diagrams/drawing19.xml"/><Relationship Id="rId5" Type="http://schemas.openxmlformats.org/officeDocument/2006/relationships/oleObject" Target="../embeddings/oleObject627.bin"/><Relationship Id="rId10" Type="http://schemas.openxmlformats.org/officeDocument/2006/relationships/diagramColors" Target="../diagrams/colors19.xml"/><Relationship Id="rId4" Type="http://schemas.openxmlformats.org/officeDocument/2006/relationships/notesSlide" Target="../notesSlides/notesSlide45.xml"/><Relationship Id="rId9" Type="http://schemas.openxmlformats.org/officeDocument/2006/relationships/diagramQuickStyle" Target="../diagrams/quickStyle1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31.xml"/></Relationships>
</file>

<file path=ppt/slides/_rels/slide5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24.xml"/></Relationships>
</file>

<file path=ppt/slides/_rels/slide58.xml.rels><?xml version="1.0" encoding="UTF-8" standalone="yes"?>
<Relationships xmlns="http://schemas.openxmlformats.org/package/2006/relationships"><Relationship Id="rId2" Type="http://schemas.openxmlformats.org/officeDocument/2006/relationships/hyperlink" Target="http://www.sonarqube.org/downloads/" TargetMode="External"/><Relationship Id="rId1" Type="http://schemas.openxmlformats.org/officeDocument/2006/relationships/slideLayout" Target="../slideLayouts/slideLayout12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82.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22.xml"/><Relationship Id="rId1" Type="http://schemas.openxmlformats.org/officeDocument/2006/relationships/vmlDrawing" Target="../drawings/vmlDrawing606.vml"/><Relationship Id="rId6" Type="http://schemas.openxmlformats.org/officeDocument/2006/relationships/image" Target="../media/image1.emf"/><Relationship Id="rId5" Type="http://schemas.openxmlformats.org/officeDocument/2006/relationships/oleObject" Target="../embeddings/oleObject628.bin"/><Relationship Id="rId4" Type="http://schemas.openxmlformats.org/officeDocument/2006/relationships/notesSlide" Target="../notesSlides/notesSlide4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1.jpeg"/><Relationship Id="rId2" Type="http://schemas.openxmlformats.org/officeDocument/2006/relationships/tags" Target="../tags/tag2783.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84.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36"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9905999"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fontAlgn="base"/>
            <a:r>
              <a:rPr lang="en-US" sz="1600" b="1" dirty="0" smtClean="0"/>
              <a:t>There are five phases in Spiral Model-</a:t>
            </a:r>
            <a:endParaRPr lang="en-US" sz="1600" dirty="0" smtClean="0"/>
          </a:p>
          <a:p>
            <a:pPr lvl="1" fontAlgn="base"/>
            <a:r>
              <a:rPr lang="en-US" sz="1600" dirty="0" smtClean="0"/>
              <a:t>Planning of each phase and next phase.</a:t>
            </a:r>
          </a:p>
          <a:p>
            <a:pPr lvl="1" fontAlgn="base"/>
            <a:r>
              <a:rPr lang="en-US" sz="1600" dirty="0" smtClean="0"/>
              <a:t>Risk Analysis</a:t>
            </a:r>
          </a:p>
          <a:p>
            <a:pPr lvl="1" fontAlgn="base"/>
            <a:r>
              <a:rPr lang="en-US" sz="1600" dirty="0" smtClean="0"/>
              <a:t>Engineering</a:t>
            </a:r>
          </a:p>
          <a:p>
            <a:pPr lvl="1" fontAlgn="base"/>
            <a:r>
              <a:rPr lang="en-US" sz="1600" dirty="0" smtClean="0"/>
              <a:t>Execution</a:t>
            </a:r>
          </a:p>
          <a:p>
            <a:pPr lvl="1" fontAlgn="base"/>
            <a:r>
              <a:rPr lang="en-US" sz="1600" dirty="0" smtClean="0"/>
              <a:t>Evaluation</a:t>
            </a:r>
            <a:endParaRPr lang="en-US" sz="16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Feature Driven Development (FDD) and Agile Modeling</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717148" y="1233712"/>
            <a:ext cx="9188852" cy="1703030"/>
          </a:xfrm>
          <a:prstGeom prst="rect">
            <a:avLst/>
          </a:prstGeom>
        </p:spPr>
        <p:txBody>
          <a:bodyPr wrap="square">
            <a:spAutoFit/>
          </a:bodyPr>
          <a:lstStyle/>
          <a:p>
            <a:pPr algn="just">
              <a:lnSpc>
                <a:spcPct val="150000"/>
              </a:lnSpc>
            </a:pPr>
            <a:r>
              <a:rPr lang="en-US" sz="1800" dirty="0" smtClean="0"/>
              <a:t>Feature-Driven Development (FDD) is a client-centric, architecture-centric, and pragmatic software process. The term "client" in FDD is used to represent what Agile Modeling (AM) refers to as </a:t>
            </a:r>
            <a:r>
              <a:rPr lang="en-US" sz="1800" b="1" dirty="0" smtClean="0"/>
              <a:t>project stakeholders or eXtreme Programming (XP)</a:t>
            </a:r>
            <a:r>
              <a:rPr lang="en-US" sz="1800" dirty="0" smtClean="0"/>
              <a:t> calls customers</a:t>
            </a:r>
            <a:endParaRPr lang="en-US" sz="18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gile Modeling and eXtreme Programming (XP)</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1800" dirty="0" smtClean="0"/>
              <a:t>Agile Modeling (AM) is a practices-based software process whose scope is to describe how to model and document in an effective and agile manner. </a:t>
            </a:r>
          </a:p>
          <a:p>
            <a:r>
              <a:rPr lang="en-US" sz="1800" dirty="0" smtClean="0"/>
              <a:t>One of the goals of AM is to address the issue of how to apply modeling techniques on software projects taking an agile approach such as</a:t>
            </a:r>
          </a:p>
          <a:p>
            <a:pPr lvl="1"/>
            <a:r>
              <a:rPr lang="en-US" sz="1800" dirty="0" smtClean="0"/>
              <a:t> </a:t>
            </a:r>
            <a:r>
              <a:rPr lang="en-US" sz="1800" i="1" dirty="0" smtClean="0"/>
              <a:t>eXtreme Programming (XP)</a:t>
            </a:r>
          </a:p>
          <a:p>
            <a:pPr lvl="1"/>
            <a:r>
              <a:rPr lang="en-US" sz="1800" i="1" dirty="0" smtClean="0"/>
              <a:t>Dynamic Systems Development Method (DSDM)</a:t>
            </a:r>
          </a:p>
          <a:p>
            <a:pPr lvl="1"/>
            <a:r>
              <a:rPr lang="en-US" sz="1800" i="1" dirty="0" smtClean="0"/>
              <a:t>Scrum </a:t>
            </a:r>
          </a:p>
          <a:p>
            <a:r>
              <a:rPr lang="en-US" sz="1800" dirty="0" smtClean="0"/>
              <a:t>The scope of XP is much greater than that of AM</a:t>
            </a:r>
          </a:p>
          <a:p>
            <a:r>
              <a:rPr lang="en-US" sz="1800" dirty="0" smtClean="0"/>
              <a:t> XP covers the full development lifecycle</a:t>
            </a:r>
          </a:p>
          <a:p>
            <a:r>
              <a:rPr lang="en-US" sz="1800" dirty="0" smtClean="0"/>
              <a:t>Candidate "base process“</a:t>
            </a:r>
          </a:p>
          <a:p>
            <a:r>
              <a:rPr lang="en-US" sz="1800" dirty="0" smtClean="0"/>
              <a:t>Is 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1800" b="1" dirty="0" smtClean="0"/>
              <a:t>Continuous Integration – Agile in practice</a:t>
            </a:r>
          </a:p>
          <a:p>
            <a:r>
              <a:rPr lang="en-US" sz="1800" b="1" dirty="0" smtClean="0"/>
              <a:t>Continuous Delivery – Extending Agile beyond Development</a:t>
            </a:r>
            <a:endParaRPr lang="en-US" sz="18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Deploy</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537539" y="2837726"/>
            <a:ext cx="9005976" cy="2440329"/>
          </a:xfrm>
          <a:prstGeom prst="rect">
            <a:avLst/>
          </a:prstGeom>
          <a:noFill/>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with Source Control System</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1800" dirty="0" smtClean="0"/>
              <a:t>Commit code with Source Control System such as</a:t>
            </a:r>
          </a:p>
          <a:p>
            <a:pPr lvl="1"/>
            <a:r>
              <a:rPr lang="en-US" sz="1800" dirty="0" smtClean="0"/>
              <a:t>SVN</a:t>
            </a:r>
          </a:p>
          <a:p>
            <a:pPr lvl="1"/>
            <a:r>
              <a:rPr lang="en-US" sz="1800" dirty="0" smtClean="0"/>
              <a:t>GIT</a:t>
            </a:r>
          </a:p>
          <a:p>
            <a:pPr lvl="1"/>
            <a:r>
              <a:rPr lang="en-US" sz="1800" dirty="0" smtClean="0"/>
              <a:t>CVS</a:t>
            </a:r>
          </a:p>
          <a:p>
            <a:r>
              <a:rPr lang="en-US" sz="1800" dirty="0" smtClean="0"/>
              <a:t>Jenkins will take latest copy from Source Control System for generating report.</a:t>
            </a:r>
          </a:p>
          <a:p>
            <a:r>
              <a:rPr lang="en-US" sz="1800" dirty="0" smtClean="0"/>
              <a:t>Code Quality can be analyzed with the support of Sonar Qube.</a:t>
            </a:r>
          </a:p>
          <a:p>
            <a:pPr lvl="1"/>
            <a:endParaRPr lang="en-US" sz="18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20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entralized Version Control</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30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a:t>
            </a:r>
            <a:endParaRPr lang="en-US" sz="2400" dirty="0">
              <a:latin typeface="Verdana" pitchFamily="34" charset="0"/>
              <a:ea typeface="Verdana" pitchFamily="34" charset="0"/>
              <a:cs typeface="Verdana" pitchFamily="34" charset="0"/>
            </a:endParaRPr>
          </a:p>
        </p:txBody>
      </p:sp>
      <p:pic>
        <p:nvPicPr>
          <p:cNvPr id="5" name="Picture 2"/>
          <p:cNvPicPr>
            <a:picLocks noGrp="1" noChangeAspect="1" noChangeArrowheads="1"/>
          </p:cNvPicPr>
          <p:nvPr>
            <p:ph idx="4294967295"/>
          </p:nvPr>
        </p:nvPicPr>
        <p:blipFill>
          <a:blip r:embed="rId7"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2720391"/>
          </a:xfrm>
          <a:prstGeom prst="rect">
            <a:avLst/>
          </a:prstGeom>
        </p:spPr>
        <p:txBody>
          <a:bodyPr/>
          <a:lstStyle/>
          <a:p>
            <a:pPr>
              <a:buFont typeface="Wingdings" pitchFamily="2" charset="2"/>
              <a:buChar char="Ø"/>
            </a:pPr>
            <a:r>
              <a:rPr lang="en-US" sz="1600" dirty="0" smtClean="0">
                <a:latin typeface="Verdana" pitchFamily="34" charset="0"/>
                <a:ea typeface="Verdana" pitchFamily="34" charset="0"/>
                <a:cs typeface="Verdana" pitchFamily="34" charset="0"/>
              </a:rPr>
              <a:t>Unit Testing Overview</a:t>
            </a:r>
          </a:p>
          <a:p>
            <a:pPr>
              <a:buFont typeface="Wingdings" pitchFamily="2" charset="2"/>
              <a:buChar char="Ø"/>
            </a:pPr>
            <a:r>
              <a:rPr lang="en-US" sz="1600" dirty="0">
                <a:solidFill>
                  <a:srgbClr val="1F497D">
                    <a:lumMod val="50000"/>
                  </a:srgbClr>
                </a:solidFill>
              </a:rPr>
              <a:t>Code Refactoring</a:t>
            </a:r>
          </a:p>
          <a:p>
            <a:pPr>
              <a:buFont typeface="Wingdings" pitchFamily="2" charset="2"/>
              <a:buChar char="Ø"/>
            </a:pPr>
            <a:r>
              <a:rPr lang="en-US" sz="1600" dirty="0">
                <a:solidFill>
                  <a:srgbClr val="1F497D">
                    <a:lumMod val="50000"/>
                  </a:srgbClr>
                </a:solidFill>
              </a:rPr>
              <a:t>Life Cycle Models</a:t>
            </a:r>
          </a:p>
          <a:p>
            <a:pPr>
              <a:buFont typeface="Wingdings" pitchFamily="2" charset="2"/>
              <a:buChar char="Ø"/>
            </a:pPr>
            <a:r>
              <a:rPr lang="en-US" sz="1600" dirty="0">
                <a:solidFill>
                  <a:srgbClr val="1F497D">
                    <a:lumMod val="50000"/>
                  </a:srgbClr>
                </a:solidFill>
              </a:rPr>
              <a:t>Continuous Integration</a:t>
            </a:r>
          </a:p>
          <a:p>
            <a:pPr>
              <a:buFont typeface="Wingdings" pitchFamily="2" charset="2"/>
              <a:buChar char="Ø"/>
            </a:pPr>
            <a:r>
              <a:rPr lang="en-US" sz="1600" dirty="0">
                <a:solidFill>
                  <a:srgbClr val="1F497D">
                    <a:lumMod val="50000"/>
                  </a:srgbClr>
                </a:solidFill>
              </a:rPr>
              <a:t>Build with Source Control System</a:t>
            </a:r>
          </a:p>
          <a:p>
            <a:pPr>
              <a:buFont typeface="Wingdings" pitchFamily="2" charset="2"/>
              <a:buChar char="Ø"/>
            </a:pPr>
            <a:r>
              <a:rPr lang="en-US" sz="1600" dirty="0" smtClean="0">
                <a:solidFill>
                  <a:srgbClr val="1F497D">
                    <a:lumMod val="50000"/>
                  </a:srgbClr>
                </a:solidFill>
              </a:rPr>
              <a:t>Jenkins</a:t>
            </a:r>
          </a:p>
          <a:p>
            <a:pPr>
              <a:buFont typeface="Wingdings" pitchFamily="2" charset="2"/>
              <a:buChar char="Ø"/>
            </a:pPr>
            <a:r>
              <a:rPr lang="en-US" sz="1600" dirty="0">
                <a:solidFill>
                  <a:srgbClr val="1F497D">
                    <a:lumMod val="50000"/>
                  </a:srgbClr>
                </a:solidFill>
              </a:rPr>
              <a:t>Sonar </a:t>
            </a:r>
            <a:r>
              <a:rPr lang="en-US" sz="1600" dirty="0" smtClean="0">
                <a:solidFill>
                  <a:srgbClr val="1F497D">
                    <a:lumMod val="50000"/>
                  </a:srgbClr>
                </a:solidFill>
              </a:rPr>
              <a:t>Qube</a:t>
            </a:r>
            <a:endParaRPr lang="en-US" sz="1600" dirty="0">
              <a:solidFill>
                <a:srgbClr val="1F497D">
                  <a:lumMod val="50000"/>
                </a:srgbClr>
              </a:solidFill>
            </a:endParaRPr>
          </a:p>
        </p:txBody>
      </p:sp>
    </p:spTree>
    <p:extLst>
      <p:ext uri="{BB962C8B-B14F-4D97-AF65-F5344CB8AC3E}">
        <p14:creationId xmlns:p14="http://schemas.microsoft.com/office/powerpoint/2010/main" val="3834882681"/>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41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 (contd.)</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bout Jenkins</a:t>
            </a:r>
            <a:endParaRPr lang="en-US" sz="2400" dirty="0">
              <a:latin typeface="Verdana" pitchFamily="34" charset="0"/>
              <a:ea typeface="Verdana" pitchFamily="34" charset="0"/>
              <a:cs typeface="Verdana" pitchFamily="34" charset="0"/>
            </a:endParaRPr>
          </a:p>
        </p:txBody>
      </p:sp>
      <p:graphicFrame>
        <p:nvGraphicFramePr>
          <p:cNvPr id="4" name="Diagram 3"/>
          <p:cNvGraphicFramePr/>
          <p:nvPr/>
        </p:nvGraphicFramePr>
        <p:xfrm>
          <a:off x="2575821" y="1488905"/>
          <a:ext cx="3635793" cy="41845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p:cNvSpPr>
            <a:spLocks noGrp="1"/>
          </p:cNvSpPr>
          <p:nvPr>
            <p:ph type="ftr" sz="quarter" idx="11"/>
          </p:nvPr>
        </p:nvSpPr>
        <p:spPr/>
        <p:txBody>
          <a:bodyPr/>
          <a:lstStyle/>
          <a:p>
            <a:endParaRPr lang="en-US" dirty="0">
              <a:solidFill>
                <a:srgbClr val="263147"/>
              </a:solidFill>
            </a:endParaRPr>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579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he Problem!</a:t>
            </a:r>
            <a:endParaRPr lang="en-US" sz="2400" dirty="0">
              <a:latin typeface="Verdana" pitchFamily="34" charset="0"/>
              <a:ea typeface="Verdana" pitchFamily="34" charset="0"/>
              <a:cs typeface="Verdana" pitchFamily="34" charset="0"/>
            </a:endParaRPr>
          </a:p>
        </p:txBody>
      </p:sp>
      <p:graphicFrame>
        <p:nvGraphicFramePr>
          <p:cNvPr id="8" name="Diagram 7"/>
          <p:cNvGraphicFramePr/>
          <p:nvPr/>
        </p:nvGraphicFramePr>
        <p:xfrm>
          <a:off x="1682530" y="1227666"/>
          <a:ext cx="6641663" cy="48893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682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hat is Continuous Integration (CI)? </a:t>
            </a:r>
            <a:endParaRPr lang="en-US" sz="2400" dirty="0">
              <a:latin typeface="Verdana" pitchFamily="34" charset="0"/>
              <a:ea typeface="Verdana" pitchFamily="34" charset="0"/>
              <a:cs typeface="Verdana" pitchFamily="34" charset="0"/>
            </a:endParaRPr>
          </a:p>
        </p:txBody>
      </p:sp>
      <p:pic>
        <p:nvPicPr>
          <p:cNvPr id="5" name="Picture 2"/>
          <p:cNvPicPr>
            <a:picLocks noGrp="1" noChangeAspect="1" noChangeArrowheads="1"/>
          </p:cNvPicPr>
          <p:nvPr>
            <p:ph idx="4294967295"/>
          </p:nvPr>
        </p:nvPicPr>
        <p:blipFill>
          <a:blip r:embed="rId7" cstate="print"/>
          <a:srcRect l="9095" t="5519" r="13523" b="17546"/>
          <a:stretch>
            <a:fillRect/>
          </a:stretch>
        </p:blipFill>
        <p:spPr bwMode="auto">
          <a:xfrm>
            <a:off x="961701" y="1198180"/>
            <a:ext cx="8324193" cy="50392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78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here Jenkins Fits In</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l="10153" r="14575" b="18636"/>
          <a:stretch>
            <a:fillRect/>
          </a:stretch>
        </p:blipFill>
        <p:spPr bwMode="auto">
          <a:xfrm>
            <a:off x="977462" y="1198179"/>
            <a:ext cx="8276897" cy="502738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886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here Jenkins Fits In (contd.)</a:t>
            </a:r>
            <a:endParaRPr lang="en-US" sz="2400" dirty="0">
              <a:latin typeface="Verdana" pitchFamily="34" charset="0"/>
              <a:ea typeface="Verdana" pitchFamily="34" charset="0"/>
              <a:cs typeface="Verdana" pitchFamily="34" charset="0"/>
            </a:endParaRPr>
          </a:p>
        </p:txBody>
      </p:sp>
      <p:pic>
        <p:nvPicPr>
          <p:cNvPr id="5" name="Picture 2"/>
          <p:cNvPicPr>
            <a:picLocks noGrp="1" noChangeAspect="1" noChangeArrowheads="1"/>
          </p:cNvPicPr>
          <p:nvPr>
            <p:ph idx="4294967295"/>
          </p:nvPr>
        </p:nvPicPr>
        <p:blipFill>
          <a:blip r:embed="rId7" cstate="print"/>
          <a:srcRect l="17868" t="7779" r="18820" b="2698"/>
          <a:stretch>
            <a:fillRect/>
          </a:stretch>
        </p:blipFill>
        <p:spPr bwMode="auto">
          <a:xfrm>
            <a:off x="1387364" y="1213944"/>
            <a:ext cx="7441325" cy="50449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98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rerequisites</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452821" y="1558742"/>
          <a:ext cx="460791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8" name="Picture 2"/>
          <p:cNvPicPr>
            <a:picLocks noChangeAspect="1" noChangeArrowheads="1"/>
          </p:cNvPicPr>
          <p:nvPr/>
        </p:nvPicPr>
        <p:blipFill>
          <a:blip r:embed="rId12" cstate="print"/>
          <a:srcRect/>
          <a:stretch>
            <a:fillRect/>
          </a:stretch>
        </p:blipFill>
        <p:spPr bwMode="auto">
          <a:xfrm>
            <a:off x="5602012" y="1458310"/>
            <a:ext cx="3242441" cy="452320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09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des</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l="5892" r="10087" b="6293"/>
          <a:stretch>
            <a:fillRect/>
          </a:stretch>
        </p:blipFill>
        <p:spPr bwMode="auto">
          <a:xfrm>
            <a:off x="1340076" y="1177155"/>
            <a:ext cx="7267903" cy="507032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19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de Uses</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924911" y="1161393"/>
            <a:ext cx="7940498" cy="511328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39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ur Project</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l="3468" t="1899" r="3893" b="13426"/>
          <a:stretch>
            <a:fillRect/>
          </a:stretch>
        </p:blipFill>
        <p:spPr bwMode="auto">
          <a:xfrm>
            <a:off x="930159" y="1198179"/>
            <a:ext cx="8429556" cy="504496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de Refactor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1800" dirty="0" smtClean="0"/>
              <a:t>Red /Green / Refactor</a:t>
            </a:r>
          </a:p>
          <a:p>
            <a:endParaRPr lang="en-US" sz="1800" dirty="0" smtClean="0"/>
          </a:p>
          <a:p>
            <a:r>
              <a:rPr lang="en-US" sz="1800" b="1" dirty="0" smtClean="0"/>
              <a:t>Where to Refactor</a:t>
            </a:r>
          </a:p>
          <a:p>
            <a:pPr lvl="1"/>
            <a:r>
              <a:rPr lang="en-US" sz="1800" b="1" dirty="0" smtClean="0"/>
              <a:t>Setup and Teardown</a:t>
            </a:r>
          </a:p>
          <a:p>
            <a:pPr lvl="1"/>
            <a:r>
              <a:rPr lang="en-US" sz="1800" b="1" dirty="0" smtClean="0"/>
              <a:t>Assertions</a:t>
            </a:r>
          </a:p>
          <a:p>
            <a:pPr lvl="1"/>
            <a:r>
              <a:rPr lang="en-US" sz="1800" b="1" dirty="0" smtClean="0"/>
              <a:t>Assertion Libraries</a:t>
            </a:r>
          </a:p>
          <a:p>
            <a:pPr lvl="1"/>
            <a:r>
              <a:rPr lang="en-US" sz="1800" b="1" dirty="0" smtClean="0"/>
              <a:t>Restructuring</a:t>
            </a:r>
          </a:p>
          <a:p>
            <a:pPr lvl="1"/>
            <a:endParaRPr lang="en-US" sz="18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501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ur Project (contd.)</a:t>
            </a:r>
            <a:endParaRPr lang="en-US" sz="2400" dirty="0">
              <a:latin typeface="Verdana" pitchFamily="34" charset="0"/>
              <a:ea typeface="Verdana" pitchFamily="34" charset="0"/>
              <a:cs typeface="Verdana" pitchFamily="34" charset="0"/>
            </a:endParaRPr>
          </a:p>
        </p:txBody>
      </p:sp>
      <p:pic>
        <p:nvPicPr>
          <p:cNvPr id="5" name="Picture 2"/>
          <p:cNvPicPr>
            <a:picLocks noGrp="1" noChangeAspect="1" noChangeArrowheads="1"/>
          </p:cNvPicPr>
          <p:nvPr>
            <p:ph idx="4294967295"/>
          </p:nvPr>
        </p:nvPicPr>
        <p:blipFill>
          <a:blip r:embed="rId7" cstate="print"/>
          <a:srcRect l="5187" r="5398" b="14135"/>
          <a:stretch>
            <a:fillRect/>
          </a:stretch>
        </p:blipFill>
        <p:spPr bwMode="auto">
          <a:xfrm>
            <a:off x="851339" y="1214258"/>
            <a:ext cx="8697672" cy="504465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603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ur Build Process</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701564" y="1282262"/>
            <a:ext cx="8868105" cy="4913586"/>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70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ving to Jenkins</a:t>
            </a:r>
            <a:endParaRPr lang="en-US" sz="2400" dirty="0">
              <a:latin typeface="Verdana" pitchFamily="34" charset="0"/>
              <a:ea typeface="Verdana" pitchFamily="34" charset="0"/>
              <a:cs typeface="Verdana" pitchFamily="34" charset="0"/>
            </a:endParaRPr>
          </a:p>
        </p:txBody>
      </p:sp>
      <p:graphicFrame>
        <p:nvGraphicFramePr>
          <p:cNvPr id="5" name="Diagram 4"/>
          <p:cNvGraphicFramePr/>
          <p:nvPr/>
        </p:nvGraphicFramePr>
        <p:xfrm>
          <a:off x="1587938" y="1527211"/>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808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Triggers</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l="1166" t="2506" r="5178"/>
          <a:stretch>
            <a:fillRect/>
          </a:stretch>
        </p:blipFill>
        <p:spPr bwMode="auto">
          <a:xfrm>
            <a:off x="804041" y="1166648"/>
            <a:ext cx="8607973" cy="513570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910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Steps</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1156861" y="1269124"/>
            <a:ext cx="8239387" cy="50167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013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ost Build Actions</a:t>
            </a:r>
            <a:endParaRPr lang="en-US" sz="2400" dirty="0">
              <a:latin typeface="Verdana" pitchFamily="34" charset="0"/>
              <a:ea typeface="Verdana" pitchFamily="34" charset="0"/>
              <a:cs typeface="Verdana" pitchFamily="34" charset="0"/>
            </a:endParaRPr>
          </a:p>
        </p:txBody>
      </p:sp>
      <p:pic>
        <p:nvPicPr>
          <p:cNvPr id="5" name="Picture 2"/>
          <p:cNvPicPr>
            <a:picLocks noGrp="1" noChangeAspect="1" noChangeArrowheads="1"/>
          </p:cNvPicPr>
          <p:nvPr>
            <p:ph idx="4294967295"/>
          </p:nvPr>
        </p:nvPicPr>
        <p:blipFill>
          <a:blip r:embed="rId7" cstate="print"/>
          <a:srcRect l="7183" t="14467" r="3917" b="13141"/>
          <a:stretch>
            <a:fillRect/>
          </a:stretch>
        </p:blipFill>
        <p:spPr bwMode="auto">
          <a:xfrm>
            <a:off x="977460" y="1261240"/>
            <a:ext cx="8463865" cy="48715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115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ummary</a:t>
            </a:r>
            <a:endParaRPr lang="en-US" sz="2400" dirty="0">
              <a:latin typeface="Verdana" pitchFamily="34" charset="0"/>
              <a:ea typeface="Verdana" pitchFamily="34" charset="0"/>
              <a:cs typeface="Verdana" pitchFamily="34" charset="0"/>
            </a:endParaRPr>
          </a:p>
        </p:txBody>
      </p:sp>
      <p:pic>
        <p:nvPicPr>
          <p:cNvPr id="5" name="Picture 2"/>
          <p:cNvPicPr>
            <a:picLocks noGrp="1" noChangeAspect="1" noChangeArrowheads="1"/>
          </p:cNvPicPr>
          <p:nvPr>
            <p:ph idx="4294967295"/>
          </p:nvPr>
        </p:nvPicPr>
        <p:blipFill>
          <a:blip r:embed="rId7" cstate="print"/>
          <a:srcRect/>
          <a:stretch>
            <a:fillRect/>
          </a:stretch>
        </p:blipFill>
        <p:spPr bwMode="auto">
          <a:xfrm>
            <a:off x="848711" y="1185041"/>
            <a:ext cx="8405648" cy="51054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21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lug-in Architecture</a:t>
            </a:r>
            <a:endParaRPr lang="en-US" sz="2400" dirty="0">
              <a:latin typeface="Verdana" pitchFamily="34" charset="0"/>
              <a:ea typeface="Verdana" pitchFamily="34" charset="0"/>
              <a:cs typeface="Verdana" pitchFamily="34" charset="0"/>
            </a:endParaRPr>
          </a:p>
        </p:txBody>
      </p:sp>
      <p:pic>
        <p:nvPicPr>
          <p:cNvPr id="5" name="Picture 2"/>
          <p:cNvPicPr>
            <a:picLocks noGrp="1" noChangeAspect="1" noChangeArrowheads="1"/>
          </p:cNvPicPr>
          <p:nvPr>
            <p:ph idx="4294967295"/>
          </p:nvPr>
        </p:nvPicPr>
        <p:blipFill>
          <a:blip r:embed="rId7" cstate="print"/>
          <a:srcRect l="10995" t="3309" r="20901" b="8562"/>
          <a:stretch>
            <a:fillRect/>
          </a:stretch>
        </p:blipFill>
        <p:spPr bwMode="auto">
          <a:xfrm>
            <a:off x="819806" y="1292771"/>
            <a:ext cx="8324194" cy="485893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20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25400" y="0"/>
            <a:ext cx="87225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seful Plug-ins Overview</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l="24063" t="6679" r="20309" b="6709"/>
          <a:stretch>
            <a:fillRect/>
          </a:stretch>
        </p:blipFill>
        <p:spPr bwMode="auto">
          <a:xfrm>
            <a:off x="2396374" y="1213943"/>
            <a:ext cx="4997668" cy="509226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422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urce Code</a:t>
            </a:r>
            <a:endParaRPr lang="en-US" sz="2400" dirty="0">
              <a:latin typeface="Verdana" pitchFamily="34" charset="0"/>
              <a:ea typeface="Verdana" pitchFamily="34" charset="0"/>
              <a:cs typeface="Verdana" pitchFamily="34" charset="0"/>
            </a:endParaRPr>
          </a:p>
        </p:txBody>
      </p:sp>
      <p:graphicFrame>
        <p:nvGraphicFramePr>
          <p:cNvPr id="8" name="Diagram 7"/>
          <p:cNvGraphicFramePr/>
          <p:nvPr>
            <p:extLst>
              <p:ext uri="{D42A27DB-BD31-4B8C-83A1-F6EECF244321}">
                <p14:modId xmlns:p14="http://schemas.microsoft.com/office/powerpoint/2010/main" val="335019369"/>
              </p:ext>
            </p:extLst>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First Development (TFD)</a:t>
            </a:r>
            <a:endParaRPr lang="en-US" sz="2400" dirty="0">
              <a:latin typeface="Verdana" pitchFamily="34" charset="0"/>
              <a:ea typeface="Verdana" pitchFamily="34" charset="0"/>
              <a:cs typeface="Verdana" pitchFamily="34" charset="0"/>
            </a:endParaRPr>
          </a:p>
        </p:txBody>
      </p:sp>
      <p:pic>
        <p:nvPicPr>
          <p:cNvPr id="1940482" name="Picture 2" descr="http://www.agiledata.org/images/tddSteps.jpg"/>
          <p:cNvPicPr>
            <a:picLocks noChangeAspect="1" noChangeArrowheads="1"/>
          </p:cNvPicPr>
          <p:nvPr/>
        </p:nvPicPr>
        <p:blipFill>
          <a:blip r:embed="rId2" cstate="print"/>
          <a:srcRect/>
          <a:stretch>
            <a:fillRect/>
          </a:stretch>
        </p:blipFill>
        <p:spPr bwMode="auto">
          <a:xfrm>
            <a:off x="2134846" y="1226917"/>
            <a:ext cx="3619500" cy="5023412"/>
          </a:xfrm>
          <a:prstGeom prst="rect">
            <a:avLst/>
          </a:prstGeom>
          <a:noFill/>
        </p:spPr>
      </p:pic>
      <p:sp>
        <p:nvSpPr>
          <p:cNvPr id="5" name="Rectangle 4"/>
          <p:cNvSpPr/>
          <p:nvPr/>
        </p:nvSpPr>
        <p:spPr>
          <a:xfrm>
            <a:off x="6563776" y="1512013"/>
            <a:ext cx="3028778" cy="384721"/>
          </a:xfrm>
          <a:prstGeom prst="rect">
            <a:avLst/>
          </a:prstGeom>
        </p:spPr>
        <p:txBody>
          <a:bodyPr wrap="none">
            <a:spAutoFit/>
          </a:bodyPr>
          <a:lstStyle/>
          <a:p>
            <a:r>
              <a:rPr lang="en-US" dirty="0" smtClean="0"/>
              <a:t>TDD = Refactoring + TFD.</a:t>
            </a:r>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2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riggers</a:t>
            </a:r>
            <a:endParaRPr lang="en-US" sz="2400" dirty="0">
              <a:latin typeface="Verdana" pitchFamily="34" charset="0"/>
              <a:ea typeface="Verdana" pitchFamily="34" charset="0"/>
              <a:cs typeface="Verdana" pitchFamily="34" charset="0"/>
            </a:endParaRPr>
          </a:p>
        </p:txBody>
      </p:sp>
      <p:graphicFrame>
        <p:nvGraphicFramePr>
          <p:cNvPr id="11" name="Diagram 10"/>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62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Tools</a:t>
            </a:r>
            <a:endParaRPr lang="en-US" sz="2400" dirty="0">
              <a:latin typeface="Verdana" pitchFamily="34" charset="0"/>
              <a:ea typeface="Verdana" pitchFamily="34" charset="0"/>
              <a:cs typeface="Verdana" pitchFamily="34" charset="0"/>
            </a:endParaRPr>
          </a:p>
        </p:txBody>
      </p:sp>
      <p:graphicFrame>
        <p:nvGraphicFramePr>
          <p:cNvPr id="5" name="Diagram 4"/>
          <p:cNvGraphicFramePr/>
          <p:nvPr/>
        </p:nvGraphicFramePr>
        <p:xfrm>
          <a:off x="567559" y="1907628"/>
          <a:ext cx="8008883"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73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rappers</a:t>
            </a:r>
            <a:endParaRPr lang="en-US" sz="2400" dirty="0">
              <a:latin typeface="Verdana" pitchFamily="34" charset="0"/>
              <a:ea typeface="Verdana" pitchFamily="34" charset="0"/>
              <a:cs typeface="Verdana" pitchFamily="34" charset="0"/>
            </a:endParaRPr>
          </a:p>
        </p:txBody>
      </p:sp>
      <p:graphicFrame>
        <p:nvGraphicFramePr>
          <p:cNvPr id="8" name="Diagram 7"/>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83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tifiers</a:t>
            </a:r>
            <a:endParaRPr lang="en-US" sz="2400" dirty="0">
              <a:latin typeface="Verdana" pitchFamily="34" charset="0"/>
              <a:ea typeface="Verdana" pitchFamily="34" charset="0"/>
              <a:cs typeface="Verdana" pitchFamily="34" charset="0"/>
            </a:endParaRPr>
          </a:p>
        </p:txBody>
      </p:sp>
      <p:graphicFrame>
        <p:nvGraphicFramePr>
          <p:cNvPr id="10" name="Diagram 9"/>
          <p:cNvGraphicFramePr/>
          <p:nvPr/>
        </p:nvGraphicFramePr>
        <p:xfrm>
          <a:off x="2297386" y="1245479"/>
          <a:ext cx="4639442" cy="485782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34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porting</a:t>
            </a:r>
            <a:endParaRPr lang="en-US" sz="2400" dirty="0">
              <a:latin typeface="Verdana" pitchFamily="34" charset="0"/>
              <a:ea typeface="Verdana" pitchFamily="34" charset="0"/>
              <a:cs typeface="Verdana" pitchFamily="34" charset="0"/>
            </a:endParaRPr>
          </a:p>
        </p:txBody>
      </p:sp>
      <p:graphicFrame>
        <p:nvGraphicFramePr>
          <p:cNvPr id="5" name="Diagram 4"/>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037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rtifacts / UI</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42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he Flow</a:t>
            </a:r>
            <a:endParaRPr lang="en-US" sz="2400" dirty="0">
              <a:latin typeface="Verdana" pitchFamily="34" charset="0"/>
              <a:ea typeface="Verdana" pitchFamily="34" charset="0"/>
              <a:cs typeface="Verdana" pitchFamily="34" charset="0"/>
            </a:endParaRPr>
          </a:p>
        </p:txBody>
      </p:sp>
      <p:pic>
        <p:nvPicPr>
          <p:cNvPr id="7" name="Picture 2"/>
          <p:cNvPicPr>
            <a:picLocks noGrp="1" noChangeAspect="1" noChangeArrowheads="1"/>
          </p:cNvPicPr>
          <p:nvPr>
            <p:ph idx="4294967295"/>
          </p:nvPr>
        </p:nvPicPr>
        <p:blipFill>
          <a:blip r:embed="rId7" cstate="print"/>
          <a:srcRect l="633" b="1595"/>
          <a:stretch>
            <a:fillRect/>
          </a:stretch>
        </p:blipFill>
        <p:spPr bwMode="auto">
          <a:xfrm>
            <a:off x="835572" y="1206062"/>
            <a:ext cx="8671035" cy="502228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34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reas of Discipline</a:t>
            </a:r>
            <a:endParaRPr lang="en-US" sz="2400" dirty="0">
              <a:latin typeface="Verdana" pitchFamily="34" charset="0"/>
              <a:ea typeface="Verdana" pitchFamily="34" charset="0"/>
              <a:cs typeface="Verdana" pitchFamily="34" charset="0"/>
            </a:endParaRPr>
          </a:p>
        </p:txBody>
      </p:sp>
      <p:graphicFrame>
        <p:nvGraphicFramePr>
          <p:cNvPr id="10" name="Diagram 9"/>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446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54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 Coverage</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DD and Traditional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1600" dirty="0" smtClean="0"/>
              <a:t>Traditional testing a successful test finds one or more defects. </a:t>
            </a:r>
          </a:p>
          <a:p>
            <a:r>
              <a:rPr lang="en-US" sz="1600" dirty="0" smtClean="0"/>
              <a:t>It is the same with TDD; when a test fails you have made progress because you now know that you need to resolve the problem. </a:t>
            </a:r>
          </a:p>
          <a:p>
            <a:r>
              <a:rPr lang="en-US" sz="1600" dirty="0" smtClean="0"/>
              <a:t>Importantly, you have a clear measure of success when the test no longer fails. </a:t>
            </a:r>
          </a:p>
          <a:p>
            <a:r>
              <a:rPr lang="en-US" sz="1600" b="1" dirty="0" smtClean="0"/>
              <a:t>TDD</a:t>
            </a:r>
            <a:r>
              <a:rPr lang="en-US" sz="1600" dirty="0" smtClean="0"/>
              <a:t> increases your confidence that your system actually </a:t>
            </a:r>
            <a:r>
              <a:rPr lang="en-US" sz="1600" b="1" dirty="0" smtClean="0"/>
              <a:t>meets the requirements</a:t>
            </a:r>
            <a:r>
              <a:rPr lang="en-US" sz="1600" dirty="0" smtClean="0"/>
              <a:t> defined for it, that your system actually works and therefore you can proceed with confidence.</a:t>
            </a:r>
          </a:p>
          <a:p>
            <a:r>
              <a:rPr lang="en-US" sz="1600" dirty="0" smtClean="0"/>
              <a:t>The greater the risk profile of the system the more thorough your tests need to be.</a:t>
            </a:r>
          </a:p>
          <a:p>
            <a:r>
              <a:rPr lang="en-US" sz="1600" dirty="0" smtClean="0"/>
              <a:t>No guarantee of - every single line of code is tested.</a:t>
            </a:r>
          </a:p>
          <a:p>
            <a:pPr>
              <a:buNone/>
            </a:pPr>
            <a:r>
              <a:rPr lang="en-US" sz="1600" dirty="0" smtClean="0"/>
              <a:t/>
            </a:r>
            <a:br>
              <a:rPr lang="en-US" sz="1600" dirty="0" smtClean="0"/>
            </a:br>
            <a:endParaRPr lang="en-US" sz="160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65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endParaRPr lang="en-US" sz="2400" dirty="0">
              <a:latin typeface="Verdana" pitchFamily="34" charset="0"/>
              <a:ea typeface="Verdana" pitchFamily="34" charset="0"/>
              <a:cs typeface="Verdana" pitchFamily="34" charset="0"/>
            </a:endParaRPr>
          </a:p>
        </p:txBody>
      </p:sp>
      <p:pic>
        <p:nvPicPr>
          <p:cNvPr id="9" name="Picture 2"/>
          <p:cNvPicPr>
            <a:picLocks noGrp="1" noChangeAspect="1" noChangeArrowheads="1"/>
          </p:cNvPicPr>
          <p:nvPr>
            <p:ph idx="4294967295"/>
          </p:nvPr>
        </p:nvPicPr>
        <p:blipFill>
          <a:blip r:embed="rId7" cstate="print"/>
          <a:srcRect l="18706" t="3456" r="18393" b="26111"/>
          <a:stretch>
            <a:fillRect/>
          </a:stretch>
        </p:blipFill>
        <p:spPr bwMode="auto">
          <a:xfrm>
            <a:off x="1560786" y="1450428"/>
            <a:ext cx="6353504" cy="448482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75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endParaRPr lang="en-US" sz="2400" dirty="0">
              <a:latin typeface="Verdana" pitchFamily="34" charset="0"/>
              <a:ea typeface="Verdana" pitchFamily="34" charset="0"/>
              <a:cs typeface="Verdana" pitchFamily="34" charset="0"/>
            </a:endParaRPr>
          </a:p>
        </p:txBody>
      </p:sp>
      <p:graphicFrame>
        <p:nvGraphicFramePr>
          <p:cNvPr id="9" name="Diagram 8"/>
          <p:cNvGraphicFramePr/>
          <p:nvPr/>
        </p:nvGraphicFramePr>
        <p:xfrm>
          <a:off x="1509111" y="2189366"/>
          <a:ext cx="7508766" cy="25560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856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de Quality Metrics</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1603704" y="1479915"/>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95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tifications</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061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ocumentation</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163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ployments</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2332005" y="1969984"/>
          <a:ext cx="5519267" cy="34691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onar Qube</a:t>
            </a:r>
            <a:endParaRPr lang="en-US"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2400" b="1" dirty="0" smtClean="0"/>
              <a:t>SonarQube</a:t>
            </a:r>
            <a:r>
              <a:rPr lang="en-US" sz="2400" dirty="0" smtClean="0"/>
              <a:t> is the central place to manage code quality, offering visual reporting on and across projects and enabling to replay the past to follow metrics evolution.</a:t>
            </a:r>
            <a:endParaRPr lang="en-US" sz="2400" dirty="0"/>
          </a:p>
        </p:txBody>
      </p:sp>
      <p:pic>
        <p:nvPicPr>
          <p:cNvPr id="1867778" name="Picture 2" descr="http://www.sonarqube.org/wp-content/themes/sonar/images/7axes.png"/>
          <p:cNvPicPr>
            <a:picLocks noChangeAspect="1" noChangeArrowheads="1"/>
          </p:cNvPicPr>
          <p:nvPr/>
        </p:nvPicPr>
        <p:blipFill>
          <a:blip r:embed="rId2" cstate="print"/>
          <a:srcRect/>
          <a:stretch>
            <a:fillRect/>
          </a:stretch>
        </p:blipFill>
        <p:spPr bwMode="auto">
          <a:xfrm>
            <a:off x="2227442" y="3159889"/>
            <a:ext cx="4685319" cy="2210885"/>
          </a:xfrm>
          <a:prstGeom prst="rect">
            <a:avLst/>
          </a:prstGeom>
          <a:noFill/>
        </p:spPr>
      </p:pic>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Installation</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1800" dirty="0" smtClean="0"/>
              <a:t>Download Sonar from the below URL:</a:t>
            </a:r>
          </a:p>
          <a:p>
            <a:pPr lvl="1"/>
            <a:r>
              <a:rPr lang="en-US" sz="1800" dirty="0" smtClean="0">
                <a:hlinkClick r:id="rId2"/>
              </a:rPr>
              <a:t>http://www.sonarqube.org/downloads/</a:t>
            </a:r>
            <a:endParaRPr lang="en-US" sz="1800" dirty="0" smtClean="0"/>
          </a:p>
          <a:p>
            <a:r>
              <a:rPr lang="en-US" sz="1800" dirty="0" smtClean="0"/>
              <a:t>Unzip the folder</a:t>
            </a:r>
          </a:p>
          <a:p>
            <a:pPr lvl="1"/>
            <a:r>
              <a:rPr lang="en-US" sz="1800" dirty="0" smtClean="0"/>
              <a:t>Start sonar qube</a:t>
            </a:r>
            <a:endParaRPr lang="en-US" sz="1800"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sz="2000" dirty="0" smtClean="0"/>
              <a:t>Configure Sonar Qube within Jenkins.</a:t>
            </a:r>
          </a:p>
          <a:p>
            <a:r>
              <a:rPr lang="en-US" sz="2000" dirty="0" smtClean="0"/>
              <a:t>Download Sonar plug-in in Jenkins.</a:t>
            </a:r>
          </a:p>
          <a:p>
            <a:pPr lvl="1"/>
            <a:r>
              <a:rPr lang="en-US" sz="2000" dirty="0" smtClean="0"/>
              <a:t>Install the Sonar Qube within Jenkins</a:t>
            </a:r>
          </a:p>
          <a:p>
            <a:pPr lvl="1"/>
            <a:r>
              <a:rPr lang="en-US" sz="2000" dirty="0" smtClean="0"/>
              <a:t>Configure Sonar Qube Server , Port details</a:t>
            </a:r>
          </a:p>
          <a:p>
            <a:pPr lvl="1"/>
            <a:r>
              <a:rPr lang="en-US" sz="2000" dirty="0" smtClean="0"/>
              <a:t>Check Sonar Qube Works correctly.</a:t>
            </a:r>
          </a:p>
          <a:p>
            <a:pPr lvl="1"/>
            <a:endParaRPr lang="en-US" sz="2000" dirty="0"/>
          </a:p>
        </p:txBody>
      </p:sp>
      <p:sp>
        <p:nvSpPr>
          <p:cNvPr id="5" name="Title 1"/>
          <p:cNvSpPr txBox="1">
            <a:spLocks/>
          </p:cNvSpPr>
          <p:nvPr/>
        </p:nvSpPr>
        <p:spPr>
          <a:xfrm>
            <a:off x="3" y="0"/>
            <a:ext cx="9905999" cy="1002135"/>
          </a:xfrm>
          <a:prstGeom prst="rect">
            <a:avLst/>
          </a:prstGeom>
        </p:spPr>
        <p:txBody>
          <a:bodyPr vert="horz" lIns="91440" tIns="45720" rIns="91440" bIns="45720" rtlCol="0" anchor="ctr">
            <a:norm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pPr defTabSz="914400"/>
            <a:r>
              <a:rPr lang="en-US" sz="2400" dirty="0"/>
              <a:t>Sonar – Jenkins Configuration</a:t>
            </a:r>
            <a:endParaRPr lang="en-US" sz="24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2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 Waterfall Test Process</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r>
              <a:rPr lang="en-US" dirty="0" smtClean="0"/>
              <a:t>Requirements analysis</a:t>
            </a:r>
          </a:p>
          <a:p>
            <a:pPr>
              <a:lnSpc>
                <a:spcPct val="150000"/>
              </a:lnSpc>
              <a:buFont typeface="Arial" pitchFamily="34" charset="0"/>
              <a:buChar char="•"/>
            </a:pPr>
            <a:r>
              <a:rPr lang="en-US" dirty="0" smtClean="0"/>
              <a:t>Test planning</a:t>
            </a:r>
          </a:p>
          <a:p>
            <a:pPr>
              <a:lnSpc>
                <a:spcPct val="150000"/>
              </a:lnSpc>
              <a:buFont typeface="Arial" pitchFamily="34" charset="0"/>
              <a:buChar char="•"/>
            </a:pPr>
            <a:r>
              <a:rPr lang="en-US" dirty="0" smtClean="0"/>
              <a:t>Test design</a:t>
            </a:r>
          </a:p>
          <a:p>
            <a:pPr>
              <a:lnSpc>
                <a:spcPct val="150000"/>
              </a:lnSpc>
              <a:buFont typeface="Arial" pitchFamily="34" charset="0"/>
              <a:buChar char="•"/>
            </a:pPr>
            <a:r>
              <a:rPr lang="en-US" dirty="0" smtClean="0"/>
              <a:t>Test implementation</a:t>
            </a:r>
          </a:p>
          <a:p>
            <a:pPr>
              <a:lnSpc>
                <a:spcPct val="150000"/>
              </a:lnSpc>
              <a:buFont typeface="Arial" pitchFamily="34" charset="0"/>
              <a:buChar char="•"/>
            </a:pPr>
            <a:r>
              <a:rPr lang="en-US" dirty="0" smtClean="0"/>
              <a:t>Test debugging</a:t>
            </a:r>
          </a:p>
          <a:p>
            <a:pPr>
              <a:lnSpc>
                <a:spcPct val="150000"/>
              </a:lnSpc>
              <a:buFont typeface="Arial" pitchFamily="34" charset="0"/>
              <a:buChar char="•"/>
            </a:pPr>
            <a:r>
              <a:rPr lang="en-US" dirty="0" smtClean="0"/>
              <a:t>System testing</a:t>
            </a:r>
          </a:p>
          <a:p>
            <a:pPr>
              <a:lnSpc>
                <a:spcPct val="150000"/>
              </a:lnSpc>
              <a:buFont typeface="Arial" pitchFamily="34" charset="0"/>
              <a:buChar char="•"/>
            </a:pPr>
            <a:r>
              <a:rPr lang="en-US" dirty="0" smtClean="0"/>
              <a:t>Acceptance testing</a:t>
            </a:r>
          </a:p>
          <a:p>
            <a:pPr>
              <a:lnSpc>
                <a:spcPct val="150000"/>
              </a:lnSpc>
              <a:buFont typeface="Arial" pitchFamily="34" charset="0"/>
              <a:buChar char="•"/>
            </a:pPr>
            <a:r>
              <a:rPr lang="en-US" dirty="0" smtClean="0"/>
              <a:t>Operations and maintenance</a:t>
            </a: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2000" dirty="0" smtClean="0"/>
              <a:t>Sonar Quality Profile</a:t>
            </a:r>
          </a:p>
          <a:p>
            <a:r>
              <a:rPr lang="en-US" sz="2000" dirty="0" smtClean="0"/>
              <a:t>Sonar Dash Board</a:t>
            </a:r>
          </a:p>
          <a:p>
            <a:endParaRPr lang="en-US" sz="2000"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45"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19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2296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endParaRPr lang="en-US" sz="2400" dirty="0">
              <a:latin typeface="Verdana" pitchFamily="34" charset="0"/>
              <a:ea typeface="Verdana" pitchFamily="34" charset="0"/>
              <a:cs typeface="Verdana" pitchFamily="34" charset="0"/>
            </a:endParaRPr>
          </a:p>
        </p:txBody>
      </p:sp>
      <p:pic>
        <p:nvPicPr>
          <p:cNvPr id="520196" name="Picture 4" descr="Image result"/>
          <p:cNvPicPr>
            <a:picLocks noChangeAspect="1" noChangeArrowheads="1"/>
          </p:cNvPicPr>
          <p:nvPr/>
        </p:nvPicPr>
        <p:blipFill>
          <a:blip r:embed="rId7" cstate="print"/>
          <a:srcRect/>
          <a:stretch>
            <a:fillRect/>
          </a:stretch>
        </p:blipFill>
        <p:spPr bwMode="auto">
          <a:xfrm>
            <a:off x="1367519" y="1504709"/>
            <a:ext cx="6323727" cy="4166886"/>
          </a:xfrm>
          <a:prstGeom prst="rect">
            <a:avLst/>
          </a:prstGeom>
          <a:noFill/>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 Analyze 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r>
              <a:rPr lang="en-US" sz="1600" dirty="0" smtClean="0"/>
              <a:t>Spiral Model in software testing is the testing strategy which works on incremental and prototype technique.</a:t>
            </a:r>
          </a:p>
          <a:p>
            <a:r>
              <a:rPr lang="en-US" sz="1600" dirty="0" smtClean="0"/>
              <a:t>Is followed for the large and complicated projects where risks are high and development and testing goes on incremental basis</a:t>
            </a:r>
            <a:endParaRPr lang="en-US" sz="1600" dirty="0"/>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572172"/>
            <a:ext cx="4762500" cy="3448051"/>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350</TotalTime>
  <Words>952</Words>
  <Application>Microsoft Office PowerPoint</Application>
  <PresentationFormat>A4 Paper (210x297 mm)</PresentationFormat>
  <Paragraphs>273</Paragraphs>
  <Slides>61</Slides>
  <Notes>47</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61</vt:i4>
      </vt:variant>
    </vt:vector>
  </HeadingPairs>
  <TitlesOfParts>
    <vt:vector size="132"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Agenda</vt:lpstr>
      <vt:lpstr>Code Refactoring</vt:lpstr>
      <vt:lpstr>Test-First Development (TFD)</vt:lpstr>
      <vt:lpstr>TDD and Traditional Testing</vt:lpstr>
      <vt:lpstr>A Waterfall Test Process</vt:lpstr>
      <vt:lpstr>V - Model</vt:lpstr>
      <vt:lpstr>V - Model</vt:lpstr>
      <vt:lpstr>Spiral Model</vt:lpstr>
      <vt:lpstr>Spiral Model</vt:lpstr>
      <vt:lpstr>Feature Driven Development (FDD) and Agile Modeling</vt:lpstr>
      <vt:lpstr>Agile Modeling and eXtreme Programming (XP)</vt:lpstr>
      <vt:lpstr>Continuous Integration</vt:lpstr>
      <vt:lpstr>Continuous Integration</vt:lpstr>
      <vt:lpstr>Continuous Deploy</vt:lpstr>
      <vt:lpstr>Build with Source Control System</vt:lpstr>
      <vt:lpstr>Build with Source Control System</vt:lpstr>
      <vt:lpstr>Centralized Version Control</vt:lpstr>
      <vt:lpstr>Distributed Version Control</vt:lpstr>
      <vt:lpstr>Distributed Version Control (contd.)</vt:lpstr>
      <vt:lpstr>About Jenkins</vt:lpstr>
      <vt:lpstr>The Problem!</vt:lpstr>
      <vt:lpstr>What is Continuous Integration (CI)? </vt:lpstr>
      <vt:lpstr>Where Jenkins Fits In</vt:lpstr>
      <vt:lpstr>Where Jenkins Fits In (contd.)</vt:lpstr>
      <vt:lpstr>Prerequisites</vt:lpstr>
      <vt:lpstr>Nodes</vt:lpstr>
      <vt:lpstr>Node Uses</vt:lpstr>
      <vt:lpstr>Our Project</vt:lpstr>
      <vt:lpstr>Our Project (contd.)</vt:lpstr>
      <vt:lpstr>Our Build Process</vt:lpstr>
      <vt:lpstr>Moving to Jenkins</vt:lpstr>
      <vt:lpstr>Build Triggers</vt:lpstr>
      <vt:lpstr>Build Steps</vt:lpstr>
      <vt:lpstr>Post Build Actions</vt:lpstr>
      <vt:lpstr>Summary</vt:lpstr>
      <vt:lpstr>Plug-in Architecture</vt:lpstr>
      <vt:lpstr>Useful Plug-ins Overview</vt:lpstr>
      <vt:lpstr>Source Code</vt:lpstr>
      <vt:lpstr>Triggers</vt:lpstr>
      <vt:lpstr>Build Tools</vt:lpstr>
      <vt:lpstr>Wrappers</vt:lpstr>
      <vt:lpstr>Notifiers</vt:lpstr>
      <vt:lpstr>Reporting</vt:lpstr>
      <vt:lpstr>Artifacts / UI</vt:lpstr>
      <vt:lpstr>The Flow</vt:lpstr>
      <vt:lpstr>Areas of Discipline</vt:lpstr>
      <vt:lpstr>Unit Testing</vt:lpstr>
      <vt:lpstr>Test Coverage</vt:lpstr>
      <vt:lpstr>Acceptance Testing</vt:lpstr>
      <vt:lpstr>Acceptance Testing</vt:lpstr>
      <vt:lpstr>Code Quality Metrics</vt:lpstr>
      <vt:lpstr>Notifications</vt:lpstr>
      <vt:lpstr>Documentation</vt:lpstr>
      <vt:lpstr>Deployments</vt:lpstr>
      <vt:lpstr>Sonar Qube</vt:lpstr>
      <vt:lpstr>Sonar Qube</vt:lpstr>
      <vt:lpstr>Sonar Installation</vt:lpstr>
      <vt:lpstr>PowerPoint Presentation</vt:lpstr>
      <vt:lpstr>Sonar Qube</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297</cp:revision>
  <dcterms:created xsi:type="dcterms:W3CDTF">2015-03-06T11:43:58Z</dcterms:created>
  <dcterms:modified xsi:type="dcterms:W3CDTF">2016-12-08T10:4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